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37"/>
  </p:notesMasterIdLst>
  <p:sldIdLst>
    <p:sldId id="407" r:id="rId5"/>
    <p:sldId id="257" r:id="rId6"/>
    <p:sldId id="269" r:id="rId7"/>
    <p:sldId id="263" r:id="rId8"/>
    <p:sldId id="653" r:id="rId9"/>
    <p:sldId id="652" r:id="rId10"/>
    <p:sldId id="654" r:id="rId11"/>
    <p:sldId id="672" r:id="rId12"/>
    <p:sldId id="664" r:id="rId13"/>
    <p:sldId id="669" r:id="rId14"/>
    <p:sldId id="673" r:id="rId15"/>
    <p:sldId id="663" r:id="rId16"/>
    <p:sldId id="676" r:id="rId17"/>
    <p:sldId id="677" r:id="rId18"/>
    <p:sldId id="678" r:id="rId19"/>
    <p:sldId id="679" r:id="rId20"/>
    <p:sldId id="680" r:id="rId21"/>
    <p:sldId id="681" r:id="rId22"/>
    <p:sldId id="682" r:id="rId23"/>
    <p:sldId id="683" r:id="rId24"/>
    <p:sldId id="684" r:id="rId25"/>
    <p:sldId id="685" r:id="rId26"/>
    <p:sldId id="686" r:id="rId27"/>
    <p:sldId id="687" r:id="rId28"/>
    <p:sldId id="688" r:id="rId29"/>
    <p:sldId id="690" r:id="rId30"/>
    <p:sldId id="689" r:id="rId31"/>
    <p:sldId id="674" r:id="rId32"/>
    <p:sldId id="671" r:id="rId33"/>
    <p:sldId id="675" r:id="rId34"/>
    <p:sldId id="667" r:id="rId35"/>
    <p:sldId id="668" r:id="rId36"/>
  </p:sldIdLst>
  <p:sldSz cx="12192000" cy="6858000"/>
  <p:notesSz cx="6858000" cy="9144000"/>
  <p:embeddedFontLst>
    <p:embeddedFont>
      <p:font typeface="Calibri" panose="020F0502020204030204" pitchFamily="34" charset="0"/>
      <p:regular r:id="rId38"/>
      <p:bold r:id="rId39"/>
      <p:italic r:id="rId40"/>
      <p:boldItalic r:id="rId41"/>
    </p:embeddedFont>
    <p:embeddedFont>
      <p:font typeface="Lucida Sans Unicode" panose="020B0602030504020204" pitchFamily="34" charset="0"/>
      <p:regular r:id="rId42"/>
    </p:embeddedFont>
    <p:embeddedFont>
      <p:font typeface="Calibri Light" panose="020F0302020204030204" pitchFamily="34" charset="0"/>
      <p:regular r:id="rId43"/>
      <p:italic r:id="rId4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8FC4"/>
    <a:srgbClr val="FFCD1E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BB188CE-6B4E-4D85-A26F-4948064EFF6C}" v="24" dt="2021-03-19T12:52:56.821"/>
    <p1510:client id="{A7E78490-2040-4625-8332-798963AB2291}" v="1270" dt="2021-03-21T11:59:57.8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2277" autoAdjust="0"/>
  </p:normalViewPr>
  <p:slideViewPr>
    <p:cSldViewPr snapToGrid="0">
      <p:cViewPr>
        <p:scale>
          <a:sx n="125" d="100"/>
          <a:sy n="125" d="100"/>
        </p:scale>
        <p:origin x="-2112" y="-27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2.fntdata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font" Target="fonts/font5.fntdata"/><Relationship Id="rId47" Type="http://schemas.openxmlformats.org/officeDocument/2006/relationships/theme" Target="theme/theme1.xml"/><Relationship Id="rId50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font" Target="fonts/font3.fntdata"/><Relationship Id="rId45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font" Target="fonts/font6.fntdata"/><Relationship Id="rId48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font" Target="fonts/font1.fntdata"/><Relationship Id="rId46" Type="http://schemas.openxmlformats.org/officeDocument/2006/relationships/viewProps" Target="viewProps.xml"/><Relationship Id="rId20" Type="http://schemas.openxmlformats.org/officeDocument/2006/relationships/slide" Target="slides/slide16.xml"/><Relationship Id="rId41" Type="http://schemas.openxmlformats.org/officeDocument/2006/relationships/font" Target="fonts/font4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CENTE ANTUNES André Filipe" userId="S::andrefilipe.vicenteantunes@altran.com::6adbaf70-d303-43a4-b797-603b7ad9f4b6" providerId="AD" clId="Web-{6BB188CE-6B4E-4D85-A26F-4948064EFF6C}"/>
    <pc:docChg chg="modSld">
      <pc:chgData name="VICENTE ANTUNES André Filipe" userId="S::andrefilipe.vicenteantunes@altran.com::6adbaf70-d303-43a4-b797-603b7ad9f4b6" providerId="AD" clId="Web-{6BB188CE-6B4E-4D85-A26F-4948064EFF6C}" dt="2021-03-19T12:52:56.711" v="9" actId="20577"/>
      <pc:docMkLst>
        <pc:docMk/>
      </pc:docMkLst>
      <pc:sldChg chg="modSp">
        <pc:chgData name="VICENTE ANTUNES André Filipe" userId="S::andrefilipe.vicenteantunes@altran.com::6adbaf70-d303-43a4-b797-603b7ad9f4b6" providerId="AD" clId="Web-{6BB188CE-6B4E-4D85-A26F-4948064EFF6C}" dt="2021-03-19T12:52:56.711" v="9" actId="20577"/>
        <pc:sldMkLst>
          <pc:docMk/>
          <pc:sldMk cId="2245227479" sldId="256"/>
        </pc:sldMkLst>
        <pc:spChg chg="mod">
          <ac:chgData name="VICENTE ANTUNES André Filipe" userId="S::andrefilipe.vicenteantunes@altran.com::6adbaf70-d303-43a4-b797-603b7ad9f4b6" providerId="AD" clId="Web-{6BB188CE-6B4E-4D85-A26F-4948064EFF6C}" dt="2021-03-19T12:52:56.711" v="9" actId="20577"/>
          <ac:spMkLst>
            <pc:docMk/>
            <pc:sldMk cId="2245227479" sldId="256"/>
            <ac:spMk id="6" creationId="{00000000-0000-0000-0000-000000000000}"/>
          </ac:spMkLst>
        </pc:spChg>
      </pc:sldChg>
    </pc:docChg>
  </pc:docChgLst>
  <pc:docChgLst>
    <pc:chgData name="ANTUNES SILVA Isabel" userId="S::isabel.antunessilva@altran.com::ce1e9924-0e3f-42ec-9294-a60a9b43b38a" providerId="AD" clId="Web-{A7E78490-2040-4625-8332-798963AB2291}"/>
    <pc:docChg chg="addSld delSld modSld">
      <pc:chgData name="ANTUNES SILVA Isabel" userId="S::isabel.antunessilva@altran.com::ce1e9924-0e3f-42ec-9294-a60a9b43b38a" providerId="AD" clId="Web-{A7E78490-2040-4625-8332-798963AB2291}" dt="2021-03-21T11:59:57.884" v="1133"/>
      <pc:docMkLst>
        <pc:docMk/>
      </pc:docMkLst>
      <pc:sldChg chg="add del">
        <pc:chgData name="ANTUNES SILVA Isabel" userId="S::isabel.antunessilva@altran.com::ce1e9924-0e3f-42ec-9294-a60a9b43b38a" providerId="AD" clId="Web-{A7E78490-2040-4625-8332-798963AB2291}" dt="2021-03-21T11:39:59.263" v="168"/>
        <pc:sldMkLst>
          <pc:docMk/>
          <pc:sldMk cId="1913106508" sldId="663"/>
        </pc:sldMkLst>
      </pc:sldChg>
      <pc:sldChg chg="modSp">
        <pc:chgData name="ANTUNES SILVA Isabel" userId="S::isabel.antunessilva@altran.com::ce1e9924-0e3f-42ec-9294-a60a9b43b38a" providerId="AD" clId="Web-{A7E78490-2040-4625-8332-798963AB2291}" dt="2021-03-21T11:59:43.915" v="1131"/>
        <pc:sldMkLst>
          <pc:docMk/>
          <pc:sldMk cId="1431519372" sldId="664"/>
        </pc:sldMkLst>
        <pc:graphicFrameChg chg="mod modGraphic">
          <ac:chgData name="ANTUNES SILVA Isabel" userId="S::isabel.antunessilva@altran.com::ce1e9924-0e3f-42ec-9294-a60a9b43b38a" providerId="AD" clId="Web-{A7E78490-2040-4625-8332-798963AB2291}" dt="2021-03-21T11:59:43.915" v="1131"/>
          <ac:graphicFrameMkLst>
            <pc:docMk/>
            <pc:sldMk cId="1431519372" sldId="664"/>
            <ac:graphicFrameMk id="3" creationId="{00000000-0000-0000-0000-000000000000}"/>
          </ac:graphicFrameMkLst>
        </pc:graphicFrameChg>
      </pc:sldChg>
      <pc:sldChg chg="modSp">
        <pc:chgData name="ANTUNES SILVA Isabel" userId="S::isabel.antunessilva@altran.com::ce1e9924-0e3f-42ec-9294-a60a9b43b38a" providerId="AD" clId="Web-{A7E78490-2040-4625-8332-798963AB2291}" dt="2021-03-21T11:59:31.024" v="1118"/>
        <pc:sldMkLst>
          <pc:docMk/>
          <pc:sldMk cId="1547611432" sldId="669"/>
        </pc:sldMkLst>
        <pc:graphicFrameChg chg="mod modGraphic">
          <ac:chgData name="ANTUNES SILVA Isabel" userId="S::isabel.antunessilva@altran.com::ce1e9924-0e3f-42ec-9294-a60a9b43b38a" providerId="AD" clId="Web-{A7E78490-2040-4625-8332-798963AB2291}" dt="2021-03-21T11:59:31.024" v="1118"/>
          <ac:graphicFrameMkLst>
            <pc:docMk/>
            <pc:sldMk cId="1547611432" sldId="669"/>
            <ac:graphicFrameMk id="2" creationId="{00000000-0000-0000-0000-000000000000}"/>
          </ac:graphicFrameMkLst>
        </pc:graphicFrameChg>
      </pc:sldChg>
      <pc:sldChg chg="modSp add del replId">
        <pc:chgData name="ANTUNES SILVA Isabel" userId="S::isabel.antunessilva@altran.com::ce1e9924-0e3f-42ec-9294-a60a9b43b38a" providerId="AD" clId="Web-{A7E78490-2040-4625-8332-798963AB2291}" dt="2021-03-21T11:59:57.884" v="1133"/>
        <pc:sldMkLst>
          <pc:docMk/>
          <pc:sldMk cId="3080121424" sldId="670"/>
        </pc:sldMkLst>
        <pc:graphicFrameChg chg="mod modGraphic">
          <ac:chgData name="ANTUNES SILVA Isabel" userId="S::isabel.antunessilva@altran.com::ce1e9924-0e3f-42ec-9294-a60a9b43b38a" providerId="AD" clId="Web-{A7E78490-2040-4625-8332-798963AB2291}" dt="2021-03-21T11:44:12.214" v="373"/>
          <ac:graphicFrameMkLst>
            <pc:docMk/>
            <pc:sldMk cId="3080121424" sldId="670"/>
            <ac:graphicFrameMk id="2" creationId="{00000000-0000-0000-0000-000000000000}"/>
          </ac:graphicFrameMkLst>
        </pc:graphicFrameChg>
        <pc:graphicFrameChg chg="mod modGraphic">
          <ac:chgData name="ANTUNES SILVA Isabel" userId="S::isabel.antunessilva@altran.com::ce1e9924-0e3f-42ec-9294-a60a9b43b38a" providerId="AD" clId="Web-{A7E78490-2040-4625-8332-798963AB2291}" dt="2021-03-21T11:48:00.519" v="483"/>
          <ac:graphicFrameMkLst>
            <pc:docMk/>
            <pc:sldMk cId="3080121424" sldId="670"/>
            <ac:graphicFrameMk id="4" creationId="{00000000-0000-0000-0000-000000000000}"/>
          </ac:graphicFrameMkLst>
        </pc:graphicFrameChg>
      </pc:sldChg>
      <pc:sldChg chg="modSp add del replId">
        <pc:chgData name="ANTUNES SILVA Isabel" userId="S::isabel.antunessilva@altran.com::ce1e9924-0e3f-42ec-9294-a60a9b43b38a" providerId="AD" clId="Web-{A7E78490-2040-4625-8332-798963AB2291}" dt="2021-03-21T11:59:55.837" v="1132"/>
        <pc:sldMkLst>
          <pc:docMk/>
          <pc:sldMk cId="4124705838" sldId="671"/>
        </pc:sldMkLst>
        <pc:graphicFrameChg chg="mod modGraphic">
          <ac:chgData name="ANTUNES SILVA Isabel" userId="S::isabel.antunessilva@altran.com::ce1e9924-0e3f-42ec-9294-a60a9b43b38a" providerId="AD" clId="Web-{A7E78490-2040-4625-8332-798963AB2291}" dt="2021-03-21T11:51:53.949" v="737"/>
          <ac:graphicFrameMkLst>
            <pc:docMk/>
            <pc:sldMk cId="4124705838" sldId="671"/>
            <ac:graphicFrameMk id="2" creationId="{00000000-0000-0000-0000-000000000000}"/>
          </ac:graphicFrameMkLst>
        </pc:graphicFrameChg>
        <pc:graphicFrameChg chg="mod modGraphic">
          <ac:chgData name="ANTUNES SILVA Isabel" userId="S::isabel.antunessilva@altran.com::ce1e9924-0e3f-42ec-9294-a60a9b43b38a" providerId="AD" clId="Web-{A7E78490-2040-4625-8332-798963AB2291}" dt="2021-03-21T11:56:46.520" v="1113"/>
          <ac:graphicFrameMkLst>
            <pc:docMk/>
            <pc:sldMk cId="4124705838" sldId="671"/>
            <ac:graphicFrameMk id="4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est result grap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est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F15-475C-B475-E607DEF61063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F15-475C-B475-E607DEF61063}"/>
              </c:ext>
            </c:extLst>
          </c:dPt>
          <c:cat>
            <c:strRef>
              <c:f>Sheet1!$A$2:$A$3</c:f>
              <c:strCache>
                <c:ptCount val="2"/>
                <c:pt idx="0">
                  <c:v>Pass</c:v>
                </c:pt>
                <c:pt idx="1">
                  <c:v>Fail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15-475C-B475-E607DEF610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4D5D03-2A51-4483-80D8-20B4FC811CA6}" type="datetimeFigureOut">
              <a:rPr lang="en-US" smtClean="0"/>
              <a:t>5/1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7232D5-03D8-4B5E-9C0C-FBED2459A5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252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7232D5-03D8-4B5E-9C0C-FBED2459A59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205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7232D5-03D8-4B5E-9C0C-FBED2459A59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310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7232D5-03D8-4B5E-9C0C-FBED2459A592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6953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7232D5-03D8-4B5E-9C0C-FBED2459A592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2551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7232D5-03D8-4B5E-9C0C-FBED2459A592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353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950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2012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986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 userDrawn="1"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644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1584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14168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8409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1236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068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8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3201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8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482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8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2249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2316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3544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3E1C9C-4818-4842-B4F4-7F564951AD6A}" type="datetimeFigureOut">
              <a:rPr lang="en-US" smtClean="0"/>
              <a:t>5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25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demoqa.com/automation-practice-form" TargetMode="Externa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693464A-4C8A-423D-ADBD-B1151BF81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0523" y="4200036"/>
            <a:ext cx="5933670" cy="2058654"/>
          </a:xfrm>
        </p:spPr>
        <p:txBody>
          <a:bodyPr/>
          <a:lstStyle/>
          <a:p>
            <a:pPr algn="ctr"/>
            <a:r>
              <a:rPr lang="en-US" dirty="0"/>
              <a:t>Analysis &amp; Design</a:t>
            </a:r>
            <a:br>
              <a:rPr lang="en-US" dirty="0"/>
            </a:br>
            <a:r>
              <a:rPr lang="en-US" dirty="0"/>
              <a:t>Implementation &amp; Automation</a:t>
            </a:r>
            <a:br>
              <a:rPr lang="en-US" dirty="0"/>
            </a:br>
            <a:r>
              <a:rPr lang="en-US" dirty="0"/>
              <a:t>Reporting</a:t>
            </a:r>
          </a:p>
          <a:p>
            <a:pPr algn="ctr"/>
            <a:r>
              <a:rPr lang="en-US" sz="1800" b="0" dirty="0"/>
              <a:t>Software QA Exerci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9947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Test Pla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485520" y="1537481"/>
            <a:ext cx="65652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ceability Matrix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8462563"/>
              </p:ext>
            </p:extLst>
          </p:nvPr>
        </p:nvGraphicFramePr>
        <p:xfrm>
          <a:off x="1583705" y="2199674"/>
          <a:ext cx="2418426" cy="267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0918">
                  <a:extLst>
                    <a:ext uri="{9D8B030D-6E8A-4147-A177-3AD203B41FA5}">
                      <a16:colId xmlns:a16="http://schemas.microsoft.com/office/drawing/2014/main" val="689635938"/>
                    </a:ext>
                  </a:extLst>
                </a:gridCol>
                <a:gridCol w="758205">
                  <a:extLst>
                    <a:ext uri="{9D8B030D-6E8A-4147-A177-3AD203B41FA5}">
                      <a16:colId xmlns:a16="http://schemas.microsoft.com/office/drawing/2014/main" val="2947744634"/>
                    </a:ext>
                  </a:extLst>
                </a:gridCol>
                <a:gridCol w="669303">
                  <a:extLst>
                    <a:ext uri="{9D8B030D-6E8A-4147-A177-3AD203B41FA5}">
                      <a16:colId xmlns:a16="http://schemas.microsoft.com/office/drawing/2014/main" val="2485439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50" dirty="0"/>
                        <a:t>Require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# Req Te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RF.01.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93566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</a:rPr>
                        <a:t>Test Cases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50473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aseline="0" dirty="0" smtClean="0"/>
                        <a:t>AT – 001</a:t>
                      </a:r>
                      <a:endParaRPr lang="en-US" sz="105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X</a:t>
                      </a:r>
                      <a:endParaRPr lang="en-US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35664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aseline="0" dirty="0" smtClean="0"/>
                        <a:t>AT - 002</a:t>
                      </a:r>
                      <a:endParaRPr lang="en-US" sz="1050" dirty="0" smtClean="0"/>
                    </a:p>
                    <a:p>
                      <a:endParaRPr lang="en-US" sz="1050" dirty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X</a:t>
                      </a:r>
                      <a:endParaRPr lang="en-US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1068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aseline="0" dirty="0" smtClean="0"/>
                        <a:t>AT – 003</a:t>
                      </a:r>
                      <a:endParaRPr lang="en-US" sz="1050" dirty="0" smtClean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X</a:t>
                      </a:r>
                      <a:endParaRPr lang="en-US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29786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aseline="0" dirty="0" smtClean="0"/>
                        <a:t>AT – 004</a:t>
                      </a:r>
                      <a:endParaRPr lang="en-US" sz="1050" dirty="0" smtClean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X</a:t>
                      </a:r>
                      <a:endParaRPr lang="en-US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7218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aseline="0" dirty="0" smtClean="0"/>
                        <a:t>AT – 005</a:t>
                      </a:r>
                      <a:endParaRPr lang="en-US" sz="1050" dirty="0" smtClean="0"/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X</a:t>
                      </a:r>
                      <a:endParaRPr lang="en-US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851870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54D78C22-878F-44D6-9F7C-28B7713CAC74}"/>
              </a:ext>
            </a:extLst>
          </p:cNvPr>
          <p:cNvSpPr txBox="1"/>
          <p:nvPr/>
        </p:nvSpPr>
        <p:spPr>
          <a:xfrm>
            <a:off x="112172" y="6227194"/>
            <a:ext cx="4887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ftware Testing, Verification and Validation</a:t>
            </a:r>
          </a:p>
        </p:txBody>
      </p:sp>
      <p:pic>
        <p:nvPicPr>
          <p:cNvPr id="8" name="Image 24">
            <a:extLst>
              <a:ext uri="{FF2B5EF4-FFF2-40B4-BE49-F238E27FC236}">
                <a16:creationId xmlns:a16="http://schemas.microsoft.com/office/drawing/2014/main" id="{912F8800-FA37-4488-9C4B-05BCCFE938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76114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3. Test Specification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289B1B50-75F1-4977-9FF8-D5C2C3648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69563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130982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Test Specification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6939483"/>
              </p:ext>
            </p:extLst>
          </p:nvPr>
        </p:nvGraphicFramePr>
        <p:xfrm>
          <a:off x="551988" y="2584778"/>
          <a:ext cx="10892150" cy="2159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4394">
                  <a:extLst>
                    <a:ext uri="{9D8B030D-6E8A-4147-A177-3AD203B41FA5}">
                      <a16:colId xmlns:a16="http://schemas.microsoft.com/office/drawing/2014/main" val="3280159808"/>
                    </a:ext>
                  </a:extLst>
                </a:gridCol>
                <a:gridCol w="8917756">
                  <a:extLst>
                    <a:ext uri="{9D8B030D-6E8A-4147-A177-3AD203B41FA5}">
                      <a16:colId xmlns:a16="http://schemas.microsoft.com/office/drawing/2014/main" val="21560551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Requirement ID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RF.01.01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0094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Requirement Title</a:t>
                      </a:r>
                    </a:p>
                  </a:txBody>
                  <a:tcPr>
                    <a:lnB w="12700" cmpd="sng"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User registration</a:t>
                      </a:r>
                    </a:p>
                  </a:txBody>
                  <a:tcPr>
                    <a:lnB w="12700" cmpd="sng"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2512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5950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Test ID</a:t>
                      </a:r>
                    </a:p>
                  </a:txBody>
                  <a:tcPr>
                    <a:lnT w="12700" cmpd="sng">
                      <a:noFill/>
                    </a:lnT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 smtClean="0"/>
                        <a:t>AT - 001</a:t>
                      </a:r>
                      <a:endParaRPr lang="en-US" sz="1400" dirty="0"/>
                    </a:p>
                  </a:txBody>
                  <a:tcPr>
                    <a:lnT w="12700" cmpd="sng">
                      <a:noFill/>
                    </a:lnT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9420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Description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 smtClean="0"/>
                        <a:t>I insert right first name, last name, email, gender, mobile phone, date of birth, subjects, hobbies, picture and full address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8063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Pre-condition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he Practice form must be available in https://demoqa.com/automation-practice-form</a:t>
                      </a:r>
                      <a:endParaRPr lang="en-US" sz="14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834855"/>
                  </a:ext>
                </a:extLst>
              </a:tr>
            </a:tbl>
          </a:graphicData>
        </a:graphic>
      </p:graphicFrame>
      <p:pic>
        <p:nvPicPr>
          <p:cNvPr id="6" name="Image 24">
            <a:extLst>
              <a:ext uri="{FF2B5EF4-FFF2-40B4-BE49-F238E27FC236}">
                <a16:creationId xmlns:a16="http://schemas.microsoft.com/office/drawing/2014/main" id="{88625F8E-DE97-4AEF-9C66-0EA334D99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3106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48849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Test Specification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4362699"/>
              </p:ext>
            </p:extLst>
          </p:nvPr>
        </p:nvGraphicFramePr>
        <p:xfrm>
          <a:off x="399590" y="785895"/>
          <a:ext cx="10892148" cy="65106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6684">
                  <a:extLst>
                    <a:ext uri="{9D8B030D-6E8A-4147-A177-3AD203B41FA5}">
                      <a16:colId xmlns:a16="http://schemas.microsoft.com/office/drawing/2014/main" val="3997638525"/>
                    </a:ext>
                  </a:extLst>
                </a:gridCol>
                <a:gridCol w="3349591">
                  <a:extLst>
                    <a:ext uri="{9D8B030D-6E8A-4147-A177-3AD203B41FA5}">
                      <a16:colId xmlns:a16="http://schemas.microsoft.com/office/drawing/2014/main" val="1535540390"/>
                    </a:ext>
                  </a:extLst>
                </a:gridCol>
                <a:gridCol w="2932866">
                  <a:extLst>
                    <a:ext uri="{9D8B030D-6E8A-4147-A177-3AD203B41FA5}">
                      <a16:colId xmlns:a16="http://schemas.microsoft.com/office/drawing/2014/main" val="291025401"/>
                    </a:ext>
                  </a:extLst>
                </a:gridCol>
                <a:gridCol w="4143007">
                  <a:extLst>
                    <a:ext uri="{9D8B030D-6E8A-4147-A177-3AD203B41FA5}">
                      <a16:colId xmlns:a16="http://schemas.microsoft.com/office/drawing/2014/main" val="18917641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Step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ction performed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ata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Expected Result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3013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</a:t>
                      </a:r>
                      <a:r>
                        <a:rPr lang="en-US" sz="1100" baseline="0" dirty="0" smtClean="0"/>
                        <a:t> ${first name} in the first name textbox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first name} = </a:t>
                      </a:r>
                      <a:r>
                        <a:rPr lang="en-US" sz="1100" b="1" baseline="0" dirty="0" smtClean="0"/>
                        <a:t>João</a:t>
                      </a:r>
                      <a:r>
                        <a:rPr lang="en-US" sz="1100" baseline="0" dirty="0" smtClean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first name} is visible in textbox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8572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2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last name} in the last name text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last name} = </a:t>
                      </a:r>
                      <a:r>
                        <a:rPr lang="en-US" sz="1100" b="1" baseline="0" dirty="0" smtClean="0"/>
                        <a:t>Sant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last name} is visible in textbox</a:t>
                      </a:r>
                      <a:endParaRPr lang="en-US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433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3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email} in the email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email}= </a:t>
                      </a:r>
                      <a:r>
                        <a:rPr lang="en-US" sz="1100" b="1" baseline="0" dirty="0" smtClean="0"/>
                        <a:t>joao@example.c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email} is visible in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0923184"/>
                  </a:ext>
                </a:extLst>
              </a:tr>
              <a:tr h="460398">
                <a:tc>
                  <a:txBody>
                    <a:bodyPr/>
                    <a:lstStyle/>
                    <a:p>
                      <a:r>
                        <a:rPr lang="en-US" sz="11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${gender} in the gender radio button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aseline="0" dirty="0" smtClean="0"/>
                        <a:t>${gender} = </a:t>
                      </a:r>
                      <a:r>
                        <a:rPr lang="en-US" sz="1100" b="1" baseline="0" dirty="0" smtClean="0"/>
                        <a:t>Male</a:t>
                      </a:r>
                      <a:endParaRPr lang="en-US" sz="11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gender}</a:t>
                      </a:r>
                      <a:r>
                        <a:rPr lang="en-US" sz="1100" dirty="0" smtClean="0"/>
                        <a:t> stay marked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4563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5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mobile phone} in the mobile phone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mobile phone}= </a:t>
                      </a:r>
                      <a:r>
                        <a:rPr lang="en-US" sz="1100" b="1" baseline="0" dirty="0" smtClean="0"/>
                        <a:t>1234567890</a:t>
                      </a:r>
                      <a:r>
                        <a:rPr lang="en-US" sz="1100" baseline="0" dirty="0" smtClean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mobile phone} is visible in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17139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6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date of birth} in the date of birth text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date of birth} = </a:t>
                      </a:r>
                      <a:r>
                        <a:rPr lang="en-US" sz="1100" b="1" baseline="0" dirty="0" smtClean="0"/>
                        <a:t>20 April 19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date of birth} is visible in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84657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7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select </a:t>
                      </a:r>
                      <a:r>
                        <a:rPr lang="en-US" sz="1100" baseline="0" dirty="0" smtClean="0"/>
                        <a:t>${subjects} in the subjects textbo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subjects} = </a:t>
                      </a:r>
                      <a:r>
                        <a:rPr lang="en-US" sz="1100" b="1" baseline="0" dirty="0" smtClean="0"/>
                        <a:t>Arts</a:t>
                      </a:r>
                      <a:r>
                        <a:rPr lang="en-US" sz="1100" baseline="0" dirty="0" smtClean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subjects} is visible in textbox</a:t>
                      </a:r>
                      <a:endParaRPr lang="en-US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2396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one ${hobbies} in the hobbies check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aseline="0" dirty="0" smtClean="0"/>
                        <a:t>${hobbies} = </a:t>
                      </a:r>
                      <a:r>
                        <a:rPr lang="en-US" sz="1100" b="1" baseline="0" dirty="0" smtClean="0"/>
                        <a:t>Sports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hobbies} </a:t>
                      </a:r>
                      <a:r>
                        <a:rPr lang="en-US" sz="1100" dirty="0" smtClean="0"/>
                        <a:t> stay marked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6955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9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 I click in the Choose File button and selected ${picture} 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button} = </a:t>
                      </a:r>
                      <a:r>
                        <a:rPr lang="en-US" sz="1100" b="1" baseline="0" dirty="0" smtClean="0"/>
                        <a:t>Choose Fil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picture}  = </a:t>
                      </a:r>
                      <a:r>
                        <a:rPr lang="en-US" sz="1100" b="1" baseline="0" dirty="0" smtClean="0"/>
                        <a:t>Wallpaper.jp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baseline="0" dirty="0" smtClean="0"/>
                        <a:t>${Layer} = </a:t>
                      </a:r>
                      <a:r>
                        <a:rPr lang="en-US" sz="1100" b="1" baseline="0" dirty="0" smtClean="0"/>
                        <a:t>No file chosen</a:t>
                      </a:r>
                      <a:endParaRPr lang="en-US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he</a:t>
                      </a:r>
                      <a:r>
                        <a:rPr lang="en-US" sz="1100" baseline="0" dirty="0" smtClean="0"/>
                        <a:t> text of the </a:t>
                      </a:r>
                      <a:r>
                        <a:rPr lang="en-US" sz="1100" b="0" baseline="0" dirty="0" smtClean="0"/>
                        <a:t>${Layer}  is changed for ${picture}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05410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Current address} } in the Current address text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Current address} = </a:t>
                      </a:r>
                      <a:r>
                        <a:rPr lang="en-US" sz="1100" b="1" baseline="0" dirty="0" smtClean="0"/>
                        <a:t>Avenue, 1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Current address} is visible in textbox</a:t>
                      </a:r>
                      <a:endParaRPr lang="en-US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655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${state} in the state </a:t>
                      </a:r>
                      <a:r>
                        <a:rPr lang="en-US" sz="1100" baseline="0" dirty="0" err="1" smtClean="0"/>
                        <a:t>combo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state} = </a:t>
                      </a:r>
                      <a:r>
                        <a:rPr lang="en-US" sz="1100" b="1" baseline="0" dirty="0" smtClean="0"/>
                        <a:t>NCR</a:t>
                      </a:r>
                      <a:endParaRPr lang="en-US" sz="11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state} stays  selected </a:t>
                      </a:r>
                    </a:p>
                    <a:p>
                      <a:r>
                        <a:rPr lang="en-US" sz="1100" baseline="0" dirty="0" smtClean="0"/>
                        <a:t>The  ${city} showing options relative to the state selected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0926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2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${city} in the city </a:t>
                      </a:r>
                      <a:r>
                        <a:rPr lang="en-US" sz="1100" baseline="0" dirty="0" err="1" smtClean="0"/>
                        <a:t>combo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city} = </a:t>
                      </a:r>
                      <a:r>
                        <a:rPr lang="en-US" sz="1100" b="1" baseline="0" dirty="0" smtClean="0"/>
                        <a:t>NOIDA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city} stays  selecte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5448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3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 I click in the Submit button.  I validate the  success message.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baseline="0" dirty="0" smtClean="0"/>
                        <a:t>${message} = </a:t>
                      </a: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anks for submitting the for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first name} = </a:t>
                      </a:r>
                      <a:r>
                        <a:rPr lang="en-US" sz="1100" b="1" baseline="0" dirty="0" smtClean="0"/>
                        <a:t>João</a:t>
                      </a:r>
                      <a:r>
                        <a:rPr lang="en-US" sz="1100" baseline="0" dirty="0" smtClean="0"/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last name} = </a:t>
                      </a:r>
                      <a:r>
                        <a:rPr lang="en-US" sz="1100" b="1" baseline="0" dirty="0" smtClean="0"/>
                        <a:t>Santo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mobile phone}= </a:t>
                      </a:r>
                      <a:r>
                        <a:rPr lang="en-US" sz="1100" b="1" baseline="0" dirty="0" smtClean="0"/>
                        <a:t>1234567890</a:t>
                      </a:r>
                      <a:r>
                        <a:rPr lang="en-US" sz="1100" baseline="0" dirty="0" smtClean="0"/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Current address} = </a:t>
                      </a:r>
                      <a:r>
                        <a:rPr lang="en-US" sz="1100" b="1" baseline="0" dirty="0" smtClean="0"/>
                        <a:t>Avenue, 1</a:t>
                      </a:r>
                      <a:endParaRPr lang="en-US" sz="1100" baseline="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Success </a:t>
                      </a:r>
                      <a:r>
                        <a:rPr lang="en-US" sz="1100" b="0" baseline="0" dirty="0" smtClean="0"/>
                        <a:t>${message}</a:t>
                      </a:r>
                      <a:r>
                        <a:rPr lang="en-US" sz="1100" baseline="0" dirty="0" smtClean="0"/>
                        <a:t> and Dialog shown with my data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The Close button is active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aseline="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9804279"/>
                  </a:ext>
                </a:extLst>
              </a:tr>
            </a:tbl>
          </a:graphicData>
        </a:graphic>
      </p:graphicFrame>
      <p:pic>
        <p:nvPicPr>
          <p:cNvPr id="6" name="Image 24">
            <a:extLst>
              <a:ext uri="{FF2B5EF4-FFF2-40B4-BE49-F238E27FC236}">
                <a16:creationId xmlns:a16="http://schemas.microsoft.com/office/drawing/2014/main" id="{88625F8E-DE97-4AEF-9C66-0EA334D99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8819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2996" y="-52874"/>
            <a:ext cx="4706007" cy="6963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069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130982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Test Specification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5078302"/>
              </p:ext>
            </p:extLst>
          </p:nvPr>
        </p:nvGraphicFramePr>
        <p:xfrm>
          <a:off x="551988" y="2584778"/>
          <a:ext cx="10892150" cy="2159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4394">
                  <a:extLst>
                    <a:ext uri="{9D8B030D-6E8A-4147-A177-3AD203B41FA5}">
                      <a16:colId xmlns:a16="http://schemas.microsoft.com/office/drawing/2014/main" val="3280159808"/>
                    </a:ext>
                  </a:extLst>
                </a:gridCol>
                <a:gridCol w="8917756">
                  <a:extLst>
                    <a:ext uri="{9D8B030D-6E8A-4147-A177-3AD203B41FA5}">
                      <a16:colId xmlns:a16="http://schemas.microsoft.com/office/drawing/2014/main" val="21560551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Requirement ID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RF.01.01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0094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Requirement Title</a:t>
                      </a:r>
                    </a:p>
                  </a:txBody>
                  <a:tcPr>
                    <a:lnB w="12700" cmpd="sng"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User registration</a:t>
                      </a:r>
                    </a:p>
                  </a:txBody>
                  <a:tcPr>
                    <a:lnB w="12700" cmpd="sng"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2512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5950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Test ID</a:t>
                      </a:r>
                    </a:p>
                  </a:txBody>
                  <a:tcPr>
                    <a:lnT w="12700" cmpd="sng">
                      <a:noFill/>
                    </a:lnT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 smtClean="0"/>
                        <a:t>AT - 002</a:t>
                      </a:r>
                      <a:endParaRPr lang="en-US" sz="1400" dirty="0"/>
                    </a:p>
                  </a:txBody>
                  <a:tcPr>
                    <a:lnT w="12700" cmpd="sng">
                      <a:noFill/>
                    </a:lnT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9420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Description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 smtClean="0"/>
                        <a:t>I insert right first name, last name, email, gender, mobile phone, date of birth, subjects, hobbies, picture and full address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8063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Pre-condition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he Practice form must be available in https://demoqa.com/automation-practice-form</a:t>
                      </a:r>
                      <a:endParaRPr lang="en-US" sz="14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834855"/>
                  </a:ext>
                </a:extLst>
              </a:tr>
            </a:tbl>
          </a:graphicData>
        </a:graphic>
      </p:graphicFrame>
      <p:pic>
        <p:nvPicPr>
          <p:cNvPr id="6" name="Image 24">
            <a:extLst>
              <a:ext uri="{FF2B5EF4-FFF2-40B4-BE49-F238E27FC236}">
                <a16:creationId xmlns:a16="http://schemas.microsoft.com/office/drawing/2014/main" id="{88625F8E-DE97-4AEF-9C66-0EA334D99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5167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48849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Test Specification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777324"/>
              </p:ext>
            </p:extLst>
          </p:nvPr>
        </p:nvGraphicFramePr>
        <p:xfrm>
          <a:off x="399590" y="785895"/>
          <a:ext cx="10892148" cy="5918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6684">
                  <a:extLst>
                    <a:ext uri="{9D8B030D-6E8A-4147-A177-3AD203B41FA5}">
                      <a16:colId xmlns:a16="http://schemas.microsoft.com/office/drawing/2014/main" val="3997638525"/>
                    </a:ext>
                  </a:extLst>
                </a:gridCol>
                <a:gridCol w="3349591">
                  <a:extLst>
                    <a:ext uri="{9D8B030D-6E8A-4147-A177-3AD203B41FA5}">
                      <a16:colId xmlns:a16="http://schemas.microsoft.com/office/drawing/2014/main" val="1535540390"/>
                    </a:ext>
                  </a:extLst>
                </a:gridCol>
                <a:gridCol w="2932866">
                  <a:extLst>
                    <a:ext uri="{9D8B030D-6E8A-4147-A177-3AD203B41FA5}">
                      <a16:colId xmlns:a16="http://schemas.microsoft.com/office/drawing/2014/main" val="291025401"/>
                    </a:ext>
                  </a:extLst>
                </a:gridCol>
                <a:gridCol w="4143007">
                  <a:extLst>
                    <a:ext uri="{9D8B030D-6E8A-4147-A177-3AD203B41FA5}">
                      <a16:colId xmlns:a16="http://schemas.microsoft.com/office/drawing/2014/main" val="18917641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Step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ction performed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ata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Expected Result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3013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</a:t>
                      </a:r>
                      <a:r>
                        <a:rPr lang="en-US" sz="1100" baseline="0" dirty="0" smtClean="0"/>
                        <a:t> ${first name} in the first name textbox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first name} = </a:t>
                      </a:r>
                      <a:r>
                        <a:rPr lang="en-US" sz="1100" b="1" baseline="0" dirty="0" smtClean="0"/>
                        <a:t>Maria</a:t>
                      </a:r>
                      <a:r>
                        <a:rPr lang="en-US" sz="1100" baseline="0" dirty="0" smtClean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first name} is visible in textbox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8572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2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last name} in the last name text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last name} = </a:t>
                      </a:r>
                      <a:r>
                        <a:rPr lang="en-US" sz="1100" b="1" baseline="0" dirty="0" smtClean="0"/>
                        <a:t>Sant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last name} is visible in textbox</a:t>
                      </a:r>
                      <a:endParaRPr lang="en-US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433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3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email} in the email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email}= </a:t>
                      </a:r>
                      <a:r>
                        <a:rPr lang="en-US" sz="1100" b="1" baseline="0" dirty="0" smtClean="0"/>
                        <a:t>maria@example.com.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email} is visible in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09231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${gender} in the gender radio button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aseline="0" dirty="0" smtClean="0"/>
                        <a:t>${gender} = </a:t>
                      </a:r>
                      <a:r>
                        <a:rPr lang="en-US" sz="1100" b="1" baseline="0" dirty="0" smtClean="0"/>
                        <a:t>Female</a:t>
                      </a:r>
                      <a:endParaRPr lang="en-US" sz="11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gender}</a:t>
                      </a:r>
                      <a:r>
                        <a:rPr lang="en-US" sz="1100" dirty="0" smtClean="0"/>
                        <a:t> stay marked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4563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5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mobile phone} in the mobile phone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mobile phone}= </a:t>
                      </a:r>
                      <a:r>
                        <a:rPr lang="en-US" sz="1100" b="1" baseline="0" dirty="0" smtClean="0"/>
                        <a:t>0000000000</a:t>
                      </a:r>
                      <a:r>
                        <a:rPr lang="en-US" sz="1100" baseline="0" dirty="0" smtClean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mobile phone} is visible in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17139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6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date of birth} in the date of birth text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date of birth} = </a:t>
                      </a:r>
                      <a:r>
                        <a:rPr lang="en-US" sz="1100" b="1" baseline="0" dirty="0" smtClean="0"/>
                        <a:t>20 </a:t>
                      </a:r>
                      <a:r>
                        <a:rPr lang="en-US" sz="1100" b="1" baseline="0" dirty="0" smtClean="0"/>
                        <a:t>April </a:t>
                      </a:r>
                      <a:r>
                        <a:rPr lang="en-US" sz="1100" b="1" baseline="0" dirty="0" smtClean="0"/>
                        <a:t>1980</a:t>
                      </a:r>
                      <a:endParaRPr lang="en-US" sz="1100" b="1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date of birth} is visible in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84657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7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select  </a:t>
                      </a:r>
                      <a:r>
                        <a:rPr lang="en-US" sz="1100" baseline="0" dirty="0" smtClean="0"/>
                        <a:t>${subjects} in the subjects text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subjects} = </a:t>
                      </a:r>
                      <a:r>
                        <a:rPr lang="en-US" sz="1100" b="1" baseline="0" dirty="0" smtClean="0"/>
                        <a:t>Biology, Hindi, </a:t>
                      </a:r>
                      <a:r>
                        <a:rPr lang="en-US" sz="1100" b="1" baseline="0" dirty="0" err="1" smtClean="0"/>
                        <a:t>Maths</a:t>
                      </a:r>
                      <a:endParaRPr lang="en-US" sz="11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subjects} is visible in textbox</a:t>
                      </a:r>
                      <a:endParaRPr lang="en-US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2396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all ${hobbies} in the hobbies check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aseline="0" dirty="0" smtClean="0"/>
                        <a:t>${hobbies} = </a:t>
                      </a:r>
                      <a:r>
                        <a:rPr lang="en-US" sz="1100" b="1" baseline="0" dirty="0" smtClean="0"/>
                        <a:t>Sports, Reading, Music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hobbies} </a:t>
                      </a:r>
                      <a:r>
                        <a:rPr lang="en-US" sz="1100" dirty="0" smtClean="0"/>
                        <a:t> stay marked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6955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9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 I click in the ${button} and selected ${picture} 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button} = </a:t>
                      </a:r>
                      <a:r>
                        <a:rPr lang="en-US" sz="1100" b="1" baseline="0" dirty="0" smtClean="0"/>
                        <a:t>Choose Fil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picture}  = </a:t>
                      </a:r>
                      <a:r>
                        <a:rPr lang="en-US" sz="1100" b="1" baseline="0" dirty="0" smtClean="0"/>
                        <a:t>Wallpaper.jp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baseline="0" dirty="0" smtClean="0"/>
                        <a:t>${Layer} = </a:t>
                      </a:r>
                      <a:r>
                        <a:rPr lang="en-US" sz="1100" b="1" baseline="0" dirty="0" smtClean="0"/>
                        <a:t>No file chosen</a:t>
                      </a:r>
                      <a:endParaRPr lang="en-US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he</a:t>
                      </a:r>
                      <a:r>
                        <a:rPr lang="en-US" sz="1100" baseline="0" dirty="0" smtClean="0"/>
                        <a:t> text of the </a:t>
                      </a:r>
                      <a:r>
                        <a:rPr lang="en-US" sz="1100" b="0" baseline="0" dirty="0" smtClean="0"/>
                        <a:t>${Layer}  is changed for ${picture}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05410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Current address} } in the Current address text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Current address} = </a:t>
                      </a:r>
                      <a:r>
                        <a:rPr lang="en-US" sz="1100" b="1" baseline="0" dirty="0" smtClean="0"/>
                        <a:t>Avenue, 1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Current address} is visible in textbox</a:t>
                      </a:r>
                      <a:endParaRPr lang="en-US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655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${state} in the state </a:t>
                      </a:r>
                      <a:r>
                        <a:rPr lang="en-US" sz="1100" baseline="0" dirty="0" err="1" smtClean="0"/>
                        <a:t>combo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state} = </a:t>
                      </a:r>
                      <a:r>
                        <a:rPr lang="en-US" sz="1100" b="1" baseline="0" dirty="0" smtClean="0"/>
                        <a:t>Rajasthan</a:t>
                      </a:r>
                      <a:endParaRPr lang="en-US" sz="11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state} stays  selected </a:t>
                      </a:r>
                    </a:p>
                    <a:p>
                      <a:r>
                        <a:rPr lang="en-US" sz="1100" baseline="0" dirty="0" smtClean="0"/>
                        <a:t>The  ${city} showing options relative to the state selected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0926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2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${city} in the city </a:t>
                      </a:r>
                      <a:r>
                        <a:rPr lang="en-US" sz="1100" baseline="0" dirty="0" err="1" smtClean="0"/>
                        <a:t>combo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city} = </a:t>
                      </a:r>
                      <a:r>
                        <a:rPr lang="en-US" sz="1100" b="1" baseline="0" dirty="0" smtClean="0"/>
                        <a:t>Jaipur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city} stays  selecte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5448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3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click in the Submit button.  I validate the  success message.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baseline="0" dirty="0" smtClean="0"/>
                        <a:t>${message} = </a:t>
                      </a: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anks for submitting the fo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Success </a:t>
                      </a:r>
                      <a:r>
                        <a:rPr lang="en-US" sz="1100" b="0" baseline="0" dirty="0" smtClean="0"/>
                        <a:t>${message} </a:t>
                      </a:r>
                      <a:r>
                        <a:rPr lang="en-US" sz="1100" baseline="0" dirty="0" smtClean="0"/>
                        <a:t> and Dialog shown with my data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The Close button is active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aseline="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9804279"/>
                  </a:ext>
                </a:extLst>
              </a:tr>
            </a:tbl>
          </a:graphicData>
        </a:graphic>
      </p:graphicFrame>
      <p:pic>
        <p:nvPicPr>
          <p:cNvPr id="6" name="Image 24">
            <a:extLst>
              <a:ext uri="{FF2B5EF4-FFF2-40B4-BE49-F238E27FC236}">
                <a16:creationId xmlns:a16="http://schemas.microsoft.com/office/drawing/2014/main" id="{88625F8E-DE97-4AEF-9C66-0EA334D99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1220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1575" y="-479"/>
            <a:ext cx="4648849" cy="6858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3512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130982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Test Specification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3684162"/>
              </p:ext>
            </p:extLst>
          </p:nvPr>
        </p:nvGraphicFramePr>
        <p:xfrm>
          <a:off x="551988" y="2584778"/>
          <a:ext cx="10892150" cy="2159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4394">
                  <a:extLst>
                    <a:ext uri="{9D8B030D-6E8A-4147-A177-3AD203B41FA5}">
                      <a16:colId xmlns:a16="http://schemas.microsoft.com/office/drawing/2014/main" val="3280159808"/>
                    </a:ext>
                  </a:extLst>
                </a:gridCol>
                <a:gridCol w="8917756">
                  <a:extLst>
                    <a:ext uri="{9D8B030D-6E8A-4147-A177-3AD203B41FA5}">
                      <a16:colId xmlns:a16="http://schemas.microsoft.com/office/drawing/2014/main" val="21560551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Requirement ID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RF.01.01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0094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Requirement Title</a:t>
                      </a:r>
                    </a:p>
                  </a:txBody>
                  <a:tcPr>
                    <a:lnB w="12700" cmpd="sng"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User registration</a:t>
                      </a:r>
                    </a:p>
                  </a:txBody>
                  <a:tcPr>
                    <a:lnB w="12700" cmpd="sng"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2512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5950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Test ID</a:t>
                      </a:r>
                    </a:p>
                  </a:txBody>
                  <a:tcPr>
                    <a:lnT w="12700" cmpd="sng">
                      <a:noFill/>
                    </a:lnT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 smtClean="0"/>
                        <a:t>AT - 003</a:t>
                      </a:r>
                      <a:endParaRPr lang="en-US" sz="1400" dirty="0"/>
                    </a:p>
                  </a:txBody>
                  <a:tcPr>
                    <a:lnT w="12700" cmpd="sng">
                      <a:noFill/>
                    </a:lnT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9420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Description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 smtClean="0"/>
                        <a:t>I insert right first name, last name, gender and mobile phone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8063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Pre-condition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he Practice form must be available in https://demoqa.com/automation-practice-form</a:t>
                      </a:r>
                      <a:endParaRPr lang="en-US" sz="14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834855"/>
                  </a:ext>
                </a:extLst>
              </a:tr>
            </a:tbl>
          </a:graphicData>
        </a:graphic>
      </p:graphicFrame>
      <p:pic>
        <p:nvPicPr>
          <p:cNvPr id="6" name="Image 24">
            <a:extLst>
              <a:ext uri="{FF2B5EF4-FFF2-40B4-BE49-F238E27FC236}">
                <a16:creationId xmlns:a16="http://schemas.microsoft.com/office/drawing/2014/main" id="{88625F8E-DE97-4AEF-9C66-0EA334D99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0222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48849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Test Specification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6036073"/>
              </p:ext>
            </p:extLst>
          </p:nvPr>
        </p:nvGraphicFramePr>
        <p:xfrm>
          <a:off x="399590" y="785895"/>
          <a:ext cx="10892148" cy="2616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6684">
                  <a:extLst>
                    <a:ext uri="{9D8B030D-6E8A-4147-A177-3AD203B41FA5}">
                      <a16:colId xmlns:a16="http://schemas.microsoft.com/office/drawing/2014/main" val="3997638525"/>
                    </a:ext>
                  </a:extLst>
                </a:gridCol>
                <a:gridCol w="3349591">
                  <a:extLst>
                    <a:ext uri="{9D8B030D-6E8A-4147-A177-3AD203B41FA5}">
                      <a16:colId xmlns:a16="http://schemas.microsoft.com/office/drawing/2014/main" val="1535540390"/>
                    </a:ext>
                  </a:extLst>
                </a:gridCol>
                <a:gridCol w="2932866">
                  <a:extLst>
                    <a:ext uri="{9D8B030D-6E8A-4147-A177-3AD203B41FA5}">
                      <a16:colId xmlns:a16="http://schemas.microsoft.com/office/drawing/2014/main" val="291025401"/>
                    </a:ext>
                  </a:extLst>
                </a:gridCol>
                <a:gridCol w="4143007">
                  <a:extLst>
                    <a:ext uri="{9D8B030D-6E8A-4147-A177-3AD203B41FA5}">
                      <a16:colId xmlns:a16="http://schemas.microsoft.com/office/drawing/2014/main" val="18917641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Step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ction performed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ata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Expected Result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3013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</a:t>
                      </a:r>
                      <a:r>
                        <a:rPr lang="en-US" sz="1100" baseline="0" dirty="0" smtClean="0"/>
                        <a:t> ${first name} in the first name textbox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first name} = </a:t>
                      </a:r>
                      <a:r>
                        <a:rPr lang="en-US" sz="1100" b="1" baseline="0" dirty="0" smtClean="0"/>
                        <a:t>S</a:t>
                      </a:r>
                      <a:endParaRPr lang="en-US" sz="11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first name} is visible in textbox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8572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2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last name} in the last name text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last name} = </a:t>
                      </a:r>
                      <a:r>
                        <a:rPr lang="en-US" sz="1100" b="1" baseline="0" dirty="0" smtClean="0"/>
                        <a:t>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last name} is visible in textbox</a:t>
                      </a:r>
                      <a:endParaRPr lang="en-US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433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${gender} in the gender radio button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aseline="0" dirty="0" smtClean="0"/>
                        <a:t>${gender} = </a:t>
                      </a:r>
                      <a:r>
                        <a:rPr lang="en-US" sz="1100" b="1" baseline="0" dirty="0" smtClean="0"/>
                        <a:t>Other</a:t>
                      </a:r>
                      <a:endParaRPr lang="en-US" sz="11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gender}</a:t>
                      </a:r>
                      <a:r>
                        <a:rPr lang="en-US" sz="1100" dirty="0" smtClean="0"/>
                        <a:t> stay marked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4563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5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mobile phone} in the mobile phone text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mobile phone}= </a:t>
                      </a:r>
                      <a:r>
                        <a:rPr lang="en-US" sz="1100" b="1" baseline="0" dirty="0" smtClean="0"/>
                        <a:t>9876543210</a:t>
                      </a:r>
                      <a:endParaRPr lang="en-US" sz="11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mobile phone} is visible in textbox</a:t>
                      </a:r>
                      <a:endParaRPr lang="en-US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4506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3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 I click in the Submit button.  I validate the  success message.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baseline="0" dirty="0" smtClean="0"/>
                        <a:t>${message} = </a:t>
                      </a: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anks for submitting the fo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Success </a:t>
                      </a:r>
                      <a:r>
                        <a:rPr lang="en-US" sz="1100" b="0" baseline="0" dirty="0" smtClean="0"/>
                        <a:t>${message} </a:t>
                      </a:r>
                      <a:r>
                        <a:rPr lang="en-US" sz="1100" baseline="0" dirty="0" smtClean="0"/>
                        <a:t> and Dialog shown with my data and Date of Birth Defaul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The Close button is active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aseline="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9804279"/>
                  </a:ext>
                </a:extLst>
              </a:tr>
            </a:tbl>
          </a:graphicData>
        </a:graphic>
      </p:graphicFrame>
      <p:pic>
        <p:nvPicPr>
          <p:cNvPr id="6" name="Image 24">
            <a:extLst>
              <a:ext uri="{FF2B5EF4-FFF2-40B4-BE49-F238E27FC236}">
                <a16:creationId xmlns:a16="http://schemas.microsoft.com/office/drawing/2014/main" id="{88625F8E-DE97-4AEF-9C66-0EA334D99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4332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40307" y="6119472"/>
            <a:ext cx="4887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ftware Testing, Verification and Validation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82534" y="1899024"/>
            <a:ext cx="10583186" cy="1900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130000"/>
              <a:buFont typeface="+mj-lt"/>
              <a:buAutoNum type="arabicPeriod"/>
            </a:pPr>
            <a:r>
              <a:rPr lang="pt-PT" sz="1600" dirty="0" err="1">
                <a:solidFill>
                  <a:srgbClr val="002060"/>
                </a:solidFill>
              </a:rPr>
              <a:t>Requirements</a:t>
            </a:r>
            <a:endParaRPr lang="pt-PT" sz="1600" dirty="0">
              <a:solidFill>
                <a:srgbClr val="002060"/>
              </a:solidFill>
            </a:endParaRPr>
          </a:p>
          <a:p>
            <a:pPr marL="342900" lvl="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130000"/>
              <a:buFont typeface="+mj-lt"/>
              <a:buAutoNum type="arabicPeriod"/>
            </a:pPr>
            <a:r>
              <a:rPr lang="pt-PT" sz="1600" dirty="0" err="1">
                <a:solidFill>
                  <a:srgbClr val="002060"/>
                </a:solidFill>
              </a:rPr>
              <a:t>Test</a:t>
            </a:r>
            <a:r>
              <a:rPr lang="pt-PT" sz="1600" dirty="0">
                <a:solidFill>
                  <a:srgbClr val="002060"/>
                </a:solidFill>
              </a:rPr>
              <a:t> </a:t>
            </a:r>
            <a:r>
              <a:rPr lang="pt-PT" sz="1600" dirty="0" err="1">
                <a:solidFill>
                  <a:srgbClr val="002060"/>
                </a:solidFill>
              </a:rPr>
              <a:t>plan</a:t>
            </a:r>
            <a:endParaRPr lang="pt-PT" sz="1600" dirty="0">
              <a:solidFill>
                <a:srgbClr val="002060"/>
              </a:solidFill>
            </a:endParaRPr>
          </a:p>
          <a:p>
            <a:pPr marL="342900" lvl="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130000"/>
              <a:buFont typeface="+mj-lt"/>
              <a:buAutoNum type="arabicPeriod"/>
            </a:pPr>
            <a:r>
              <a:rPr lang="pt-PT" sz="1600" dirty="0" err="1">
                <a:solidFill>
                  <a:srgbClr val="002060"/>
                </a:solidFill>
              </a:rPr>
              <a:t>Test</a:t>
            </a:r>
            <a:r>
              <a:rPr lang="pt-PT" sz="1600" dirty="0">
                <a:solidFill>
                  <a:srgbClr val="002060"/>
                </a:solidFill>
              </a:rPr>
              <a:t> </a:t>
            </a:r>
            <a:r>
              <a:rPr lang="pt-PT" sz="1600" dirty="0" err="1">
                <a:solidFill>
                  <a:srgbClr val="002060"/>
                </a:solidFill>
              </a:rPr>
              <a:t>specification</a:t>
            </a:r>
            <a:endParaRPr lang="pt-PT" sz="1600" dirty="0">
              <a:solidFill>
                <a:srgbClr val="002060"/>
              </a:solidFill>
            </a:endParaRPr>
          </a:p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130000"/>
              <a:buFont typeface="+mj-lt"/>
              <a:buAutoNum type="arabicPeriod"/>
            </a:pPr>
            <a:r>
              <a:rPr lang="pt-PT" sz="1600" dirty="0" err="1">
                <a:solidFill>
                  <a:srgbClr val="002060"/>
                </a:solidFill>
              </a:rPr>
              <a:t>Test</a:t>
            </a:r>
            <a:r>
              <a:rPr lang="pt-PT" sz="1600" dirty="0">
                <a:solidFill>
                  <a:srgbClr val="002060"/>
                </a:solidFill>
              </a:rPr>
              <a:t> </a:t>
            </a:r>
            <a:r>
              <a:rPr lang="pt-PT" sz="1600" dirty="0" err="1">
                <a:solidFill>
                  <a:srgbClr val="002060"/>
                </a:solidFill>
              </a:rPr>
              <a:t>automation</a:t>
            </a:r>
            <a:endParaRPr lang="pt-PT" sz="1600" dirty="0">
              <a:solidFill>
                <a:srgbClr val="002060"/>
              </a:solidFill>
            </a:endParaRPr>
          </a:p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130000"/>
              <a:buFont typeface="+mj-lt"/>
              <a:buAutoNum type="arabicPeriod"/>
            </a:pPr>
            <a:r>
              <a:rPr lang="pt-PT" sz="1600" dirty="0" err="1">
                <a:solidFill>
                  <a:srgbClr val="002060"/>
                </a:solidFill>
              </a:rPr>
              <a:t>Test</a:t>
            </a:r>
            <a:r>
              <a:rPr lang="pt-PT" sz="1600" dirty="0">
                <a:solidFill>
                  <a:srgbClr val="002060"/>
                </a:solidFill>
              </a:rPr>
              <a:t> </a:t>
            </a:r>
            <a:r>
              <a:rPr lang="pt-PT" sz="1600" dirty="0" err="1">
                <a:solidFill>
                  <a:srgbClr val="002060"/>
                </a:solidFill>
              </a:rPr>
              <a:t>reporting</a:t>
            </a:r>
            <a:endParaRPr lang="pt-PT" sz="1600" dirty="0">
              <a:solidFill>
                <a:srgbClr val="00206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0307" y="1021495"/>
            <a:ext cx="48875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ts</a:t>
            </a:r>
          </a:p>
        </p:txBody>
      </p:sp>
      <p:pic>
        <p:nvPicPr>
          <p:cNvPr id="9" name="Image 24">
            <a:extLst>
              <a:ext uri="{FF2B5EF4-FFF2-40B4-BE49-F238E27FC236}">
                <a16:creationId xmlns:a16="http://schemas.microsoft.com/office/drawing/2014/main" id="{1DF5E183-DCAB-414C-B1FD-5A8BF96636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0190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53339" y="-63808"/>
            <a:ext cx="4581625" cy="6551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9416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130982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Test Specification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7580938"/>
              </p:ext>
            </p:extLst>
          </p:nvPr>
        </p:nvGraphicFramePr>
        <p:xfrm>
          <a:off x="551988" y="2584778"/>
          <a:ext cx="10892150" cy="230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4394">
                  <a:extLst>
                    <a:ext uri="{9D8B030D-6E8A-4147-A177-3AD203B41FA5}">
                      <a16:colId xmlns:a16="http://schemas.microsoft.com/office/drawing/2014/main" val="3280159808"/>
                    </a:ext>
                  </a:extLst>
                </a:gridCol>
                <a:gridCol w="8917756">
                  <a:extLst>
                    <a:ext uri="{9D8B030D-6E8A-4147-A177-3AD203B41FA5}">
                      <a16:colId xmlns:a16="http://schemas.microsoft.com/office/drawing/2014/main" val="21560551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Requirement ID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RF.01.01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0094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Requirement Title</a:t>
                      </a:r>
                    </a:p>
                  </a:txBody>
                  <a:tcPr>
                    <a:lnB w="12700" cmpd="sng"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User registration</a:t>
                      </a:r>
                    </a:p>
                  </a:txBody>
                  <a:tcPr>
                    <a:lnB w="12700" cmpd="sng"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2512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5950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smtClean="0"/>
                        <a:t>Test ID</a:t>
                      </a:r>
                      <a:endParaRPr lang="en-US" sz="1400" dirty="0"/>
                    </a:p>
                  </a:txBody>
                  <a:tcPr>
                    <a:lnT w="12700" cmpd="sng">
                      <a:noFill/>
                    </a:lnT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 smtClean="0"/>
                        <a:t>AT- 004</a:t>
                      </a:r>
                      <a:endParaRPr lang="en-US" sz="1400" dirty="0"/>
                    </a:p>
                  </a:txBody>
                  <a:tcPr>
                    <a:lnT w="12700" cmpd="sng">
                      <a:noFill/>
                    </a:lnT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9420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Description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 smtClean="0"/>
                        <a:t>I insert right first name, last name, gender, mobile phone, date of birth, subjects, hobbies, picture, full address and invalid email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8063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Pre-condition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he Practice form must be available in https://demoqa.com/automation-practice-form</a:t>
                      </a:r>
                      <a:endParaRPr lang="en-US" sz="14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834855"/>
                  </a:ext>
                </a:extLst>
              </a:tr>
            </a:tbl>
          </a:graphicData>
        </a:graphic>
      </p:graphicFrame>
      <p:pic>
        <p:nvPicPr>
          <p:cNvPr id="6" name="Image 24">
            <a:extLst>
              <a:ext uri="{FF2B5EF4-FFF2-40B4-BE49-F238E27FC236}">
                <a16:creationId xmlns:a16="http://schemas.microsoft.com/office/drawing/2014/main" id="{88625F8E-DE97-4AEF-9C66-0EA334D99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7574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48849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Test Specification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7676437"/>
              </p:ext>
            </p:extLst>
          </p:nvPr>
        </p:nvGraphicFramePr>
        <p:xfrm>
          <a:off x="399590" y="785895"/>
          <a:ext cx="10892148" cy="575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6684">
                  <a:extLst>
                    <a:ext uri="{9D8B030D-6E8A-4147-A177-3AD203B41FA5}">
                      <a16:colId xmlns:a16="http://schemas.microsoft.com/office/drawing/2014/main" val="3997638525"/>
                    </a:ext>
                  </a:extLst>
                </a:gridCol>
                <a:gridCol w="3349591">
                  <a:extLst>
                    <a:ext uri="{9D8B030D-6E8A-4147-A177-3AD203B41FA5}">
                      <a16:colId xmlns:a16="http://schemas.microsoft.com/office/drawing/2014/main" val="1535540390"/>
                    </a:ext>
                  </a:extLst>
                </a:gridCol>
                <a:gridCol w="2932866">
                  <a:extLst>
                    <a:ext uri="{9D8B030D-6E8A-4147-A177-3AD203B41FA5}">
                      <a16:colId xmlns:a16="http://schemas.microsoft.com/office/drawing/2014/main" val="291025401"/>
                    </a:ext>
                  </a:extLst>
                </a:gridCol>
                <a:gridCol w="4143007">
                  <a:extLst>
                    <a:ext uri="{9D8B030D-6E8A-4147-A177-3AD203B41FA5}">
                      <a16:colId xmlns:a16="http://schemas.microsoft.com/office/drawing/2014/main" val="18917641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Step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ction performed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ata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Expected Result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3013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</a:t>
                      </a:r>
                      <a:r>
                        <a:rPr lang="en-US" sz="1100" baseline="0" dirty="0" smtClean="0"/>
                        <a:t> ${first name} in the first name textbox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first name} = </a:t>
                      </a:r>
                      <a:r>
                        <a:rPr lang="en-US" sz="1100" b="1" baseline="0" dirty="0" smtClean="0"/>
                        <a:t>João</a:t>
                      </a:r>
                      <a:r>
                        <a:rPr lang="en-US" sz="1100" baseline="0" dirty="0" smtClean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first name} is visible in textbox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8572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2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last name} in the last name text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last name} = </a:t>
                      </a:r>
                      <a:r>
                        <a:rPr lang="en-US" sz="1100" b="1" baseline="0" dirty="0" smtClean="0"/>
                        <a:t>Sant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last name} is visible in textbox</a:t>
                      </a:r>
                      <a:endParaRPr lang="en-US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433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3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email} in the email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email}= </a:t>
                      </a:r>
                      <a:r>
                        <a:rPr lang="en-US" sz="1100" b="1" baseline="0" dirty="0" smtClean="0"/>
                        <a:t>@example.c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email} is visible in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09231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${gender} in the gender radio button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aseline="0" dirty="0" smtClean="0"/>
                        <a:t>${gender} = </a:t>
                      </a:r>
                      <a:r>
                        <a:rPr lang="en-US" sz="1100" b="1" baseline="0" dirty="0" smtClean="0"/>
                        <a:t>Male</a:t>
                      </a:r>
                      <a:endParaRPr lang="en-US" sz="11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gender}</a:t>
                      </a:r>
                      <a:r>
                        <a:rPr lang="en-US" sz="1100" dirty="0" smtClean="0"/>
                        <a:t> stay marked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4563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5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mobile phone} in the mobile phone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mobile phone}= </a:t>
                      </a:r>
                      <a:r>
                        <a:rPr lang="en-US" sz="1100" b="1" baseline="0" dirty="0" smtClean="0"/>
                        <a:t>1234567890</a:t>
                      </a:r>
                      <a:r>
                        <a:rPr lang="en-US" sz="1100" baseline="0" dirty="0" smtClean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mobile phone} is visible in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17139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6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date of birth} in the date of birth text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date of birth} = </a:t>
                      </a:r>
                      <a:r>
                        <a:rPr lang="en-US" sz="1100" b="1" baseline="0" dirty="0" smtClean="0"/>
                        <a:t>20 April 19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date of birth} is visible in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84657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7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subjects} in the subjects text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subjects} = </a:t>
                      </a:r>
                      <a:r>
                        <a:rPr lang="en-US" sz="1100" b="1" baseline="0" dirty="0" smtClean="0"/>
                        <a:t>Math</a:t>
                      </a:r>
                      <a:r>
                        <a:rPr lang="en-US" sz="1100" baseline="0" dirty="0" smtClean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subjects} is visible in textbox</a:t>
                      </a:r>
                      <a:endParaRPr lang="en-US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2396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one ${hobbies} in the hobbies check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aseline="0" dirty="0" smtClean="0"/>
                        <a:t>${hobbies} = </a:t>
                      </a:r>
                      <a:r>
                        <a:rPr lang="en-US" sz="1100" b="1" baseline="0" dirty="0" smtClean="0"/>
                        <a:t>Music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hobbies} </a:t>
                      </a:r>
                      <a:r>
                        <a:rPr lang="en-US" sz="1100" dirty="0" smtClean="0"/>
                        <a:t> stay marked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6955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9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 I click in the ${button} and selected ${picture} 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button} = </a:t>
                      </a:r>
                      <a:r>
                        <a:rPr lang="en-US" sz="1100" b="1" baseline="0" dirty="0" smtClean="0"/>
                        <a:t>Choose Fil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picture}  = </a:t>
                      </a:r>
                      <a:r>
                        <a:rPr lang="en-US" sz="1100" b="1" baseline="0" dirty="0" smtClean="0"/>
                        <a:t>Wallpaper.jp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baseline="0" dirty="0" smtClean="0"/>
                        <a:t>${Layer} = </a:t>
                      </a:r>
                      <a:r>
                        <a:rPr lang="en-US" sz="1100" b="1" baseline="0" dirty="0" smtClean="0"/>
                        <a:t>No file chosen</a:t>
                      </a:r>
                      <a:endParaRPr lang="en-US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he</a:t>
                      </a:r>
                      <a:r>
                        <a:rPr lang="en-US" sz="1100" baseline="0" dirty="0" smtClean="0"/>
                        <a:t> text of the </a:t>
                      </a:r>
                      <a:r>
                        <a:rPr lang="en-US" sz="1100" b="0" baseline="0" dirty="0" smtClean="0"/>
                        <a:t>${Layer}  is changed for ${picture}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05410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Current address} } in the Current address text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Current address} = </a:t>
                      </a:r>
                      <a:r>
                        <a:rPr lang="en-US" sz="1100" b="1" baseline="0" dirty="0" smtClean="0"/>
                        <a:t>Avenue, 2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Current address} is visible in textbox</a:t>
                      </a:r>
                      <a:endParaRPr lang="en-US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655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${state} in the state </a:t>
                      </a:r>
                      <a:r>
                        <a:rPr lang="en-US" sz="1100" baseline="0" dirty="0" err="1" smtClean="0"/>
                        <a:t>combo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state} = </a:t>
                      </a:r>
                      <a:r>
                        <a:rPr lang="en-US" sz="1100" b="1" baseline="0" dirty="0" smtClean="0"/>
                        <a:t>Haryana</a:t>
                      </a:r>
                      <a:endParaRPr lang="en-US" sz="11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state} stays  selected </a:t>
                      </a:r>
                    </a:p>
                    <a:p>
                      <a:r>
                        <a:rPr lang="en-US" sz="1100" baseline="0" dirty="0" smtClean="0"/>
                        <a:t>The  ${city} showing options relative to the state selected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0926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2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${city} in the city </a:t>
                      </a:r>
                      <a:r>
                        <a:rPr lang="en-US" sz="1100" baseline="0" dirty="0" err="1" smtClean="0"/>
                        <a:t>combo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city} = </a:t>
                      </a:r>
                      <a:r>
                        <a:rPr lang="en-US" sz="1100" b="1" baseline="0" dirty="0" err="1" smtClean="0"/>
                        <a:t>Karnal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city} stays  selecte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5448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3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 I click in the Submit button.  I validate the  success message.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email textbox turned re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aseline="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9804279"/>
                  </a:ext>
                </a:extLst>
              </a:tr>
            </a:tbl>
          </a:graphicData>
        </a:graphic>
      </p:graphicFrame>
      <p:pic>
        <p:nvPicPr>
          <p:cNvPr id="6" name="Image 24">
            <a:extLst>
              <a:ext uri="{FF2B5EF4-FFF2-40B4-BE49-F238E27FC236}">
                <a16:creationId xmlns:a16="http://schemas.microsoft.com/office/drawing/2014/main" id="{88625F8E-DE97-4AEF-9C66-0EA334D99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1279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410" y="173271"/>
            <a:ext cx="4202405" cy="6391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492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130982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Test Specification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6641329"/>
              </p:ext>
            </p:extLst>
          </p:nvPr>
        </p:nvGraphicFramePr>
        <p:xfrm>
          <a:off x="551988" y="2584778"/>
          <a:ext cx="10892150" cy="230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4394">
                  <a:extLst>
                    <a:ext uri="{9D8B030D-6E8A-4147-A177-3AD203B41FA5}">
                      <a16:colId xmlns:a16="http://schemas.microsoft.com/office/drawing/2014/main" val="3280159808"/>
                    </a:ext>
                  </a:extLst>
                </a:gridCol>
                <a:gridCol w="8917756">
                  <a:extLst>
                    <a:ext uri="{9D8B030D-6E8A-4147-A177-3AD203B41FA5}">
                      <a16:colId xmlns:a16="http://schemas.microsoft.com/office/drawing/2014/main" val="21560551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Requirement ID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RF.01.01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0094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Requirement Title</a:t>
                      </a:r>
                    </a:p>
                  </a:txBody>
                  <a:tcPr>
                    <a:lnB w="12700" cmpd="sng"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User registration</a:t>
                      </a:r>
                    </a:p>
                  </a:txBody>
                  <a:tcPr>
                    <a:lnB w="12700" cmpd="sng"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2512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5950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Test ID</a:t>
                      </a:r>
                    </a:p>
                  </a:txBody>
                  <a:tcPr>
                    <a:lnT w="12700" cmpd="sng">
                      <a:noFill/>
                    </a:lnT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smtClean="0"/>
                        <a:t>AT </a:t>
                      </a:r>
                      <a:r>
                        <a:rPr lang="en-US" sz="1400" baseline="0" dirty="0" smtClean="0"/>
                        <a:t>- 005</a:t>
                      </a:r>
                      <a:endParaRPr lang="en-US" sz="1400" dirty="0"/>
                    </a:p>
                  </a:txBody>
                  <a:tcPr>
                    <a:lnT w="12700" cmpd="sng">
                      <a:noFill/>
                    </a:lnT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9420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Description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 smtClean="0"/>
                        <a:t>I insert right first name, last name, MAIL, gender, mobile phone, subjects, hobbies, picture, full address and invalid date of birth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8063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Pre-condition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he Practice form must be available in https://demoqa.com/automation-practice-form</a:t>
                      </a:r>
                      <a:endParaRPr lang="en-US" sz="14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8834855"/>
                  </a:ext>
                </a:extLst>
              </a:tr>
            </a:tbl>
          </a:graphicData>
        </a:graphic>
      </p:graphicFrame>
      <p:pic>
        <p:nvPicPr>
          <p:cNvPr id="6" name="Image 24">
            <a:extLst>
              <a:ext uri="{FF2B5EF4-FFF2-40B4-BE49-F238E27FC236}">
                <a16:creationId xmlns:a16="http://schemas.microsoft.com/office/drawing/2014/main" id="{88625F8E-DE97-4AEF-9C66-0EA334D99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2044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48849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Test Specification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005802"/>
              </p:ext>
            </p:extLst>
          </p:nvPr>
        </p:nvGraphicFramePr>
        <p:xfrm>
          <a:off x="399590" y="785895"/>
          <a:ext cx="10892148" cy="575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6684">
                  <a:extLst>
                    <a:ext uri="{9D8B030D-6E8A-4147-A177-3AD203B41FA5}">
                      <a16:colId xmlns:a16="http://schemas.microsoft.com/office/drawing/2014/main" val="3997638525"/>
                    </a:ext>
                  </a:extLst>
                </a:gridCol>
                <a:gridCol w="3349591">
                  <a:extLst>
                    <a:ext uri="{9D8B030D-6E8A-4147-A177-3AD203B41FA5}">
                      <a16:colId xmlns:a16="http://schemas.microsoft.com/office/drawing/2014/main" val="1535540390"/>
                    </a:ext>
                  </a:extLst>
                </a:gridCol>
                <a:gridCol w="2932866">
                  <a:extLst>
                    <a:ext uri="{9D8B030D-6E8A-4147-A177-3AD203B41FA5}">
                      <a16:colId xmlns:a16="http://schemas.microsoft.com/office/drawing/2014/main" val="291025401"/>
                    </a:ext>
                  </a:extLst>
                </a:gridCol>
                <a:gridCol w="4143007">
                  <a:extLst>
                    <a:ext uri="{9D8B030D-6E8A-4147-A177-3AD203B41FA5}">
                      <a16:colId xmlns:a16="http://schemas.microsoft.com/office/drawing/2014/main" val="18917641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Step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ction performed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ata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Expected Result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3013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</a:t>
                      </a:r>
                      <a:r>
                        <a:rPr lang="en-US" sz="1100" baseline="0" dirty="0" smtClean="0"/>
                        <a:t> ${first name} in the first name textbox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first name} = </a:t>
                      </a:r>
                      <a:r>
                        <a:rPr lang="en-US" sz="1100" b="1" baseline="0" dirty="0" smtClean="0"/>
                        <a:t>João</a:t>
                      </a:r>
                      <a:r>
                        <a:rPr lang="en-US" sz="1100" baseline="0" dirty="0" smtClean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first name} is visible in textbox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8572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2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last name} in the last name text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last name} = </a:t>
                      </a:r>
                      <a:r>
                        <a:rPr lang="en-US" sz="1100" b="1" baseline="0" dirty="0" smtClean="0"/>
                        <a:t>Sant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last name} is visible in textbox</a:t>
                      </a:r>
                      <a:endParaRPr lang="en-US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6433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3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email} in the email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email}= </a:t>
                      </a:r>
                      <a:r>
                        <a:rPr lang="en-US" sz="1100" b="1" baseline="0" dirty="0" smtClean="0"/>
                        <a:t>joao@example.c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email} is visible in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09231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${gender} in the gender radio button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aseline="0" dirty="0" smtClean="0"/>
                        <a:t>${gender} = </a:t>
                      </a:r>
                      <a:r>
                        <a:rPr lang="en-US" sz="1100" b="1" baseline="0" dirty="0" smtClean="0"/>
                        <a:t>Male</a:t>
                      </a:r>
                      <a:endParaRPr lang="en-US" sz="11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gender}</a:t>
                      </a:r>
                      <a:r>
                        <a:rPr lang="en-US" sz="1100" dirty="0" smtClean="0"/>
                        <a:t> stay marked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4563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5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mobile phone} in the mobile phone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mobile phone}= </a:t>
                      </a:r>
                      <a:r>
                        <a:rPr lang="en-US" sz="1100" b="1" baseline="0" dirty="0" smtClean="0"/>
                        <a:t>1234567890</a:t>
                      </a:r>
                      <a:r>
                        <a:rPr lang="en-US" sz="1100" baseline="0" dirty="0" smtClean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mobile phone} is visible in textbox</a:t>
                      </a:r>
                      <a:endParaRPr lang="en-US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17139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I insert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${date of birth} in the date of birth textbox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${date of birth} = 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20 May 2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The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${date of birth} is visible in textbox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84657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7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subjects} in the subjects text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subjects} = </a:t>
                      </a:r>
                      <a:r>
                        <a:rPr lang="en-US" sz="1100" b="1" baseline="0" dirty="0" smtClean="0"/>
                        <a:t>Arts</a:t>
                      </a:r>
                      <a:r>
                        <a:rPr lang="en-US" sz="1100" baseline="0" dirty="0" smtClean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subjects} is visible in textbox</a:t>
                      </a:r>
                      <a:endParaRPr lang="en-US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2396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one ${hobbies} in the hobbies check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aseline="0" dirty="0" smtClean="0"/>
                        <a:t>${hobbies} = </a:t>
                      </a:r>
                      <a:r>
                        <a:rPr lang="en-US" sz="1100" b="1" baseline="0" dirty="0" smtClean="0"/>
                        <a:t>Sports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hobbies} </a:t>
                      </a:r>
                      <a:r>
                        <a:rPr lang="en-US" sz="1100" dirty="0" smtClean="0"/>
                        <a:t> stay marked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6955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9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 I click in the ${button} and selected ${picture} 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button} = </a:t>
                      </a:r>
                      <a:r>
                        <a:rPr lang="en-US" sz="1100" b="1" baseline="0" dirty="0" smtClean="0"/>
                        <a:t>Choose Fil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picture}  = </a:t>
                      </a:r>
                      <a:r>
                        <a:rPr lang="en-US" sz="1100" b="1" baseline="0" dirty="0" smtClean="0"/>
                        <a:t>Wallpaper.jp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baseline="0" dirty="0" smtClean="0"/>
                        <a:t>${Layer} = </a:t>
                      </a:r>
                      <a:r>
                        <a:rPr lang="en-US" sz="1100" b="1" baseline="0" dirty="0" smtClean="0"/>
                        <a:t>No file chosen</a:t>
                      </a:r>
                      <a:endParaRPr lang="en-US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he</a:t>
                      </a:r>
                      <a:r>
                        <a:rPr lang="en-US" sz="1100" baseline="0" dirty="0" smtClean="0"/>
                        <a:t> text of the </a:t>
                      </a:r>
                      <a:r>
                        <a:rPr lang="en-US" sz="1100" b="0" baseline="0" dirty="0" smtClean="0"/>
                        <a:t>${Layer}  is changed for ${picture}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05410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 insert </a:t>
                      </a:r>
                      <a:r>
                        <a:rPr lang="en-US" sz="1100" baseline="0" dirty="0" smtClean="0"/>
                        <a:t>${Current address} } in the Current address text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Current address} = </a:t>
                      </a:r>
                      <a:r>
                        <a:rPr lang="en-US" sz="1100" b="1" baseline="0" dirty="0" smtClean="0"/>
                        <a:t>Avenue, 1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Current address} is visible in textbox</a:t>
                      </a:r>
                      <a:endParaRPr lang="en-US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655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${state} in the state </a:t>
                      </a:r>
                      <a:r>
                        <a:rPr lang="en-US" sz="1100" baseline="0" dirty="0" err="1" smtClean="0"/>
                        <a:t>combo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state} = </a:t>
                      </a:r>
                      <a:r>
                        <a:rPr lang="en-US" sz="1100" b="1" baseline="0" dirty="0" smtClean="0"/>
                        <a:t>Haryana</a:t>
                      </a:r>
                      <a:endParaRPr lang="en-US" sz="11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state} stays  selected </a:t>
                      </a:r>
                    </a:p>
                    <a:p>
                      <a:r>
                        <a:rPr lang="en-US" sz="1100" baseline="0" dirty="0" smtClean="0"/>
                        <a:t>The  ${city} showing options relative to the state selected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0926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2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I select ${city} in the city </a:t>
                      </a:r>
                      <a:r>
                        <a:rPr lang="en-US" sz="1100" baseline="0" dirty="0" err="1" smtClean="0"/>
                        <a:t>combobo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${city} = </a:t>
                      </a:r>
                      <a:r>
                        <a:rPr lang="en-US" sz="1100" b="1" baseline="0" dirty="0" err="1" smtClean="0"/>
                        <a:t>Karnal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The </a:t>
                      </a:r>
                      <a:r>
                        <a:rPr lang="en-US" sz="1100" baseline="0" dirty="0" smtClean="0"/>
                        <a:t>${city} stays  selecte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5448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rgbClr val="FF0000"/>
                          </a:solidFill>
                        </a:rPr>
                        <a:t>13</a:t>
                      </a:r>
                      <a:endParaRPr lang="en-US" sz="11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/>
                        <a:t> I click in the Submit button.  I validate the  success message.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baseline="0" dirty="0" smtClean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rgbClr val="FF0000"/>
                          </a:solidFill>
                        </a:rPr>
                        <a:t>The date of birth textbox turned re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aseline="0" dirty="0" smtClean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9804279"/>
                  </a:ext>
                </a:extLst>
              </a:tr>
            </a:tbl>
          </a:graphicData>
        </a:graphic>
      </p:graphicFrame>
      <p:pic>
        <p:nvPicPr>
          <p:cNvPr id="6" name="Image 24">
            <a:extLst>
              <a:ext uri="{FF2B5EF4-FFF2-40B4-BE49-F238E27FC236}">
                <a16:creationId xmlns:a16="http://schemas.microsoft.com/office/drawing/2014/main" id="{88625F8E-DE97-4AEF-9C66-0EA334D99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7671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7286" y="13811"/>
            <a:ext cx="4677428" cy="6830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298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74700" y="1039116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smtClean="0">
                <a:solidFill>
                  <a:srgbClr val="244C63"/>
                </a:solidFill>
                <a:latin typeface="-apple-system"/>
              </a:rPr>
              <a:t>Title</a:t>
            </a:r>
            <a:r>
              <a:rPr lang="en-US" dirty="0" smtClean="0">
                <a:solidFill>
                  <a:srgbClr val="244C63"/>
                </a:solidFill>
                <a:latin typeface="-apple-system"/>
              </a:rPr>
              <a:t>: Invalid age is accepted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774700" y="1562725"/>
            <a:ext cx="7150574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/>
              <a:t>Priority</a:t>
            </a:r>
            <a:r>
              <a:rPr lang="en-US" dirty="0" smtClean="0"/>
              <a:t>: High</a:t>
            </a:r>
          </a:p>
          <a:p>
            <a:endParaRPr lang="en-US" dirty="0"/>
          </a:p>
          <a:p>
            <a:r>
              <a:rPr lang="en-US" b="1" dirty="0" smtClean="0"/>
              <a:t>Description: </a:t>
            </a:r>
            <a:r>
              <a:rPr lang="en-US" dirty="0" smtClean="0"/>
              <a:t>When </a:t>
            </a:r>
            <a:r>
              <a:rPr lang="en-US" dirty="0"/>
              <a:t>entering a future date of birth in relation to the current date, the student record was processed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b="1" dirty="0"/>
              <a:t>Test case: </a:t>
            </a:r>
            <a:r>
              <a:rPr lang="en-US" dirty="0"/>
              <a:t>TA </a:t>
            </a:r>
            <a:r>
              <a:rPr lang="en-US" dirty="0" smtClean="0"/>
              <a:t>– 005 </a:t>
            </a:r>
          </a:p>
          <a:p>
            <a:endParaRPr lang="en-US" dirty="0"/>
          </a:p>
          <a:p>
            <a:r>
              <a:rPr lang="en-US" b="1" dirty="0" smtClean="0"/>
              <a:t>Device/Build: </a:t>
            </a:r>
          </a:p>
          <a:p>
            <a:r>
              <a:rPr lang="en-US" b="1" dirty="0"/>
              <a:t>	</a:t>
            </a:r>
            <a:r>
              <a:rPr lang="en-US" dirty="0" smtClean="0"/>
              <a:t>Google Chrome (Version </a:t>
            </a:r>
            <a:r>
              <a:rPr lang="en-US" dirty="0"/>
              <a:t>90.0.4430.93</a:t>
            </a:r>
            <a:r>
              <a:rPr lang="en-US" dirty="0" smtClean="0"/>
              <a:t>) </a:t>
            </a:r>
          </a:p>
          <a:p>
            <a:r>
              <a:rPr lang="en-US" dirty="0" smtClean="0"/>
              <a:t> 	url: </a:t>
            </a:r>
            <a:r>
              <a:rPr lang="en-US" dirty="0" smtClean="0">
                <a:hlinkClick r:id="rId2"/>
              </a:rPr>
              <a:t>https</a:t>
            </a:r>
            <a:r>
              <a:rPr lang="en-US" dirty="0">
                <a:hlinkClick r:id="rId2"/>
              </a:rPr>
              <a:t>://</a:t>
            </a:r>
            <a:r>
              <a:rPr lang="en-US" dirty="0" smtClean="0">
                <a:hlinkClick r:id="rId2"/>
              </a:rPr>
              <a:t>demoqa.com/automation-practice-form</a:t>
            </a:r>
            <a:endParaRPr lang="en-US" dirty="0" smtClean="0"/>
          </a:p>
          <a:p>
            <a:endParaRPr lang="en-US" dirty="0" smtClean="0"/>
          </a:p>
          <a:p>
            <a:pPr lvl="0">
              <a:defRPr/>
            </a:pPr>
            <a:r>
              <a:rPr lang="en-US" b="1" dirty="0" smtClean="0"/>
              <a:t>Expected Result: </a:t>
            </a:r>
            <a:r>
              <a:rPr lang="en-US" dirty="0"/>
              <a:t>The date of birth textbox turned red</a:t>
            </a:r>
          </a:p>
          <a:p>
            <a:endParaRPr lang="en-US" dirty="0"/>
          </a:p>
          <a:p>
            <a:r>
              <a:rPr lang="en-US" b="1" dirty="0" smtClean="0"/>
              <a:t>Actual Result: </a:t>
            </a:r>
            <a:r>
              <a:rPr lang="en-US" dirty="0" smtClean="0"/>
              <a:t>Success </a:t>
            </a:r>
            <a:r>
              <a:rPr lang="en-US" dirty="0"/>
              <a:t>message and Dialog shown </a:t>
            </a:r>
            <a:r>
              <a:rPr lang="en-US" dirty="0" smtClean="0"/>
              <a:t>with data </a:t>
            </a:r>
          </a:p>
          <a:p>
            <a:endParaRPr lang="en-US" dirty="0"/>
          </a:p>
          <a:p>
            <a:r>
              <a:rPr lang="en-US" b="1" dirty="0" smtClean="0"/>
              <a:t>Evidences</a:t>
            </a:r>
            <a:r>
              <a:rPr lang="en-US" b="1" dirty="0"/>
              <a:t>: </a:t>
            </a:r>
            <a:r>
              <a:rPr lang="en-US" dirty="0"/>
              <a:t>image to the side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47134" y="243841"/>
            <a:ext cx="10515600" cy="924560"/>
          </a:xfrm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G Report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33274" y="989129"/>
            <a:ext cx="3344079" cy="488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454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4. Automation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289B1B50-75F1-4977-9FF8-D5C2C3648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47187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Test Automation</a:t>
            </a:r>
          </a:p>
        </p:txBody>
      </p:sp>
      <p:sp>
        <p:nvSpPr>
          <p:cNvPr id="5" name="Text Box 1">
            <a:extLst>
              <a:ext uri="{FF2B5EF4-FFF2-40B4-BE49-F238E27FC236}">
                <a16:creationId xmlns:a16="http://schemas.microsoft.com/office/drawing/2014/main" id="{6C208FDE-FC59-4987-BD71-BE10714D85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221" y="1537481"/>
            <a:ext cx="11663167" cy="430625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tIns="91440"/>
          <a:lstStyle/>
          <a:p>
            <a:pPr marL="550862" indent="-285750">
              <a:spcBef>
                <a:spcPts val="325"/>
              </a:spcBef>
              <a:spcAft>
                <a:spcPts val="1425"/>
              </a:spcAft>
              <a:buSzPct val="45000"/>
              <a:buFont typeface="Wingdings" panose="05000000000000000000" pitchFamily="2" charset="2"/>
              <a:buChar char="Ø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r>
              <a:rPr lang="en-GB" sz="1400" dirty="0">
                <a:solidFill>
                  <a:srgbClr val="595959"/>
                </a:solidFill>
              </a:rPr>
              <a:t>Project Repository</a:t>
            </a:r>
          </a:p>
          <a:p>
            <a:pPr marL="550862" indent="-285750">
              <a:spcBef>
                <a:spcPts val="325"/>
              </a:spcBef>
              <a:spcAft>
                <a:spcPts val="1425"/>
              </a:spcAft>
              <a:buSzPct val="45000"/>
              <a:buFont typeface="Wingdings" panose="05000000000000000000" pitchFamily="2" charset="2"/>
              <a:buChar char="Ø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r>
              <a:rPr lang="en-GB" sz="1400" dirty="0">
                <a:solidFill>
                  <a:srgbClr val="595959"/>
                </a:solidFill>
              </a:rPr>
              <a:t>Description</a:t>
            </a:r>
          </a:p>
          <a:p>
            <a:pPr marL="550862" indent="-285750">
              <a:spcBef>
                <a:spcPts val="325"/>
              </a:spcBef>
              <a:spcAft>
                <a:spcPts val="1425"/>
              </a:spcAft>
              <a:buSzPct val="45000"/>
              <a:buFont typeface="Wingdings" panose="05000000000000000000" pitchFamily="2" charset="2"/>
              <a:buChar char="Ø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r>
              <a:rPr lang="en-GB" sz="1400" dirty="0">
                <a:solidFill>
                  <a:srgbClr val="595959"/>
                </a:solidFill>
              </a:rPr>
              <a:t>Project Structure</a:t>
            </a:r>
          </a:p>
          <a:p>
            <a:pPr marL="550862" indent="-285750">
              <a:spcBef>
                <a:spcPts val="325"/>
              </a:spcBef>
              <a:spcAft>
                <a:spcPts val="1425"/>
              </a:spcAft>
              <a:buSzPct val="45000"/>
              <a:buFont typeface="Wingdings" panose="05000000000000000000" pitchFamily="2" charset="2"/>
              <a:buChar char="Ø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r>
              <a:rPr lang="en-GB" sz="1400" dirty="0">
                <a:solidFill>
                  <a:srgbClr val="595959"/>
                </a:solidFill>
              </a:rPr>
              <a:t>Environment Setup</a:t>
            </a:r>
          </a:p>
          <a:p>
            <a:pPr marL="550862" indent="-285750">
              <a:spcBef>
                <a:spcPts val="325"/>
              </a:spcBef>
              <a:spcAft>
                <a:spcPts val="1425"/>
              </a:spcAft>
              <a:buSzPct val="45000"/>
              <a:buFont typeface="Wingdings" panose="05000000000000000000" pitchFamily="2" charset="2"/>
              <a:buChar char="Ø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r>
              <a:rPr lang="en-GB" sz="1400" dirty="0">
                <a:solidFill>
                  <a:srgbClr val="595959"/>
                </a:solidFill>
              </a:rPr>
              <a:t>Usage</a:t>
            </a:r>
          </a:p>
          <a:p>
            <a:pPr marL="550862" indent="-285750">
              <a:spcBef>
                <a:spcPts val="325"/>
              </a:spcBef>
              <a:spcAft>
                <a:spcPts val="1425"/>
              </a:spcAft>
              <a:buSzPct val="45000"/>
              <a:buFont typeface="Wingdings" panose="05000000000000000000" pitchFamily="2" charset="2"/>
              <a:buChar char="Ø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r>
              <a:rPr lang="en-GB" sz="1400" dirty="0">
                <a:solidFill>
                  <a:srgbClr val="595959"/>
                </a:solidFill>
              </a:rPr>
              <a:t>Common Errors</a:t>
            </a:r>
          </a:p>
          <a:p>
            <a:pPr marL="1006475" lvl="1" indent="-284163">
              <a:spcBef>
                <a:spcPts val="325"/>
              </a:spcBef>
              <a:spcAft>
                <a:spcPts val="1425"/>
              </a:spcAft>
              <a:buSzPct val="45000"/>
              <a:buFont typeface="Wingdings" charset="2"/>
              <a:buChar char="ü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endParaRPr lang="en-GB" sz="1400" dirty="0">
              <a:solidFill>
                <a:srgbClr val="595959"/>
              </a:solidFill>
              <a:latin typeface="Lucida Sans Unicode" pitchFamily="32" charset="0"/>
            </a:endParaRPr>
          </a:p>
        </p:txBody>
      </p:sp>
      <p:pic>
        <p:nvPicPr>
          <p:cNvPr id="9" name="Image 24">
            <a:extLst>
              <a:ext uri="{FF2B5EF4-FFF2-40B4-BE49-F238E27FC236}">
                <a16:creationId xmlns:a16="http://schemas.microsoft.com/office/drawing/2014/main" id="{9E92E38D-8FF4-4B07-8248-DA61CA779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01921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1. Requirements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289B1B50-75F1-4977-9FF8-D5C2C3648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5. Reporting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289B1B50-75F1-4977-9FF8-D5C2C3648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67735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Test Reporting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9240607"/>
              </p:ext>
            </p:extLst>
          </p:nvPr>
        </p:nvGraphicFramePr>
        <p:xfrm>
          <a:off x="473529" y="2134180"/>
          <a:ext cx="10819782" cy="22554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3476">
                  <a:extLst>
                    <a:ext uri="{9D8B030D-6E8A-4147-A177-3AD203B41FA5}">
                      <a16:colId xmlns:a16="http://schemas.microsoft.com/office/drawing/2014/main" val="2834557266"/>
                    </a:ext>
                  </a:extLst>
                </a:gridCol>
                <a:gridCol w="6450233">
                  <a:extLst>
                    <a:ext uri="{9D8B030D-6E8A-4147-A177-3AD203B41FA5}">
                      <a16:colId xmlns:a16="http://schemas.microsoft.com/office/drawing/2014/main" val="631567799"/>
                    </a:ext>
                  </a:extLst>
                </a:gridCol>
                <a:gridCol w="2756073">
                  <a:extLst>
                    <a:ext uri="{9D8B030D-6E8A-4147-A177-3AD203B41FA5}">
                      <a16:colId xmlns:a16="http://schemas.microsoft.com/office/drawing/2014/main" val="8010341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Test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Test Tit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6622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TA</a:t>
                      </a:r>
                      <a:r>
                        <a:rPr lang="en-US" sz="1600" baseline="0" dirty="0" smtClean="0"/>
                        <a:t> – 001</a:t>
                      </a:r>
                      <a:endParaRPr lang="en-US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cessful Registration</a:t>
                      </a:r>
                      <a:endParaRPr lang="en-US" sz="16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kern="1200" baseline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68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A</a:t>
                      </a:r>
                      <a:r>
                        <a:rPr lang="en-US" sz="1600" baseline="0" dirty="0" smtClean="0"/>
                        <a:t> – 002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cessful Registration with three all hobb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0405820"/>
                  </a:ext>
                </a:extLst>
              </a:tr>
              <a:tr h="4012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TA</a:t>
                      </a:r>
                      <a:r>
                        <a:rPr lang="en-US" sz="1600" baseline="0" dirty="0" smtClean="0"/>
                        <a:t> – 003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cessful Registration</a:t>
                      </a:r>
                      <a:r>
                        <a:rPr lang="en-US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out not mandatory fie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5803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TA</a:t>
                      </a:r>
                      <a:r>
                        <a:rPr lang="en-US" sz="1600" baseline="0" dirty="0" smtClean="0"/>
                        <a:t> – 004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successful Registration due to invalid ema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71217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TA</a:t>
                      </a:r>
                      <a:r>
                        <a:rPr lang="en-US" sz="1600" baseline="0" dirty="0" smtClean="0"/>
                        <a:t> – 005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successful Registration due to invalid Date of Bir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8354593"/>
                  </a:ext>
                </a:extLst>
              </a:tr>
            </a:tbl>
          </a:graphicData>
        </a:graphic>
      </p:graphicFrame>
      <p:pic>
        <p:nvPicPr>
          <p:cNvPr id="5" name="Image 24">
            <a:extLst>
              <a:ext uri="{FF2B5EF4-FFF2-40B4-BE49-F238E27FC236}">
                <a16:creationId xmlns:a16="http://schemas.microsoft.com/office/drawing/2014/main" id="{188BD0F2-6F15-4C78-9EF0-4B466FCD40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019562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Test Reporting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6166796"/>
              </p:ext>
            </p:extLst>
          </p:nvPr>
        </p:nvGraphicFramePr>
        <p:xfrm>
          <a:off x="778235" y="2011138"/>
          <a:ext cx="5085237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84718">
                  <a:extLst>
                    <a:ext uri="{9D8B030D-6E8A-4147-A177-3AD203B41FA5}">
                      <a16:colId xmlns:a16="http://schemas.microsoft.com/office/drawing/2014/main" val="2910242495"/>
                    </a:ext>
                  </a:extLst>
                </a:gridCol>
                <a:gridCol w="923826">
                  <a:extLst>
                    <a:ext uri="{9D8B030D-6E8A-4147-A177-3AD203B41FA5}">
                      <a16:colId xmlns:a16="http://schemas.microsoft.com/office/drawing/2014/main" val="2234313864"/>
                    </a:ext>
                  </a:extLst>
                </a:gridCol>
                <a:gridCol w="876693">
                  <a:extLst>
                    <a:ext uri="{9D8B030D-6E8A-4147-A177-3AD203B41FA5}">
                      <a16:colId xmlns:a16="http://schemas.microsoft.com/office/drawing/2014/main" val="6282803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Number of tests execu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P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Fa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52050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1935257"/>
                  </a:ext>
                </a:extLst>
              </a:tr>
            </a:tbl>
          </a:graphicData>
        </a:graphic>
      </p:graphicFrame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859662579"/>
              </p:ext>
            </p:extLst>
          </p:nvPr>
        </p:nvGraphicFramePr>
        <p:xfrm>
          <a:off x="6355595" y="1706251"/>
          <a:ext cx="5569146" cy="3941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2665338" y="5186474"/>
            <a:ext cx="36902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2">
                    <a:lumMod val="75000"/>
                  </a:schemeClr>
                </a:solidFill>
              </a:rPr>
              <a:t>Para </a:t>
            </a:r>
            <a:r>
              <a:rPr lang="en-US" sz="1200" err="1">
                <a:solidFill>
                  <a:schemeClr val="bg2">
                    <a:lumMod val="75000"/>
                  </a:schemeClr>
                </a:solidFill>
              </a:rPr>
              <a:t>actualizar</a:t>
            </a:r>
            <a:r>
              <a:rPr lang="en-US" sz="1200">
                <a:solidFill>
                  <a:schemeClr val="bg2">
                    <a:lumMod val="75000"/>
                  </a:schemeClr>
                </a:solidFill>
              </a:rPr>
              <a:t> o </a:t>
            </a:r>
            <a:r>
              <a:rPr lang="en-US" sz="1200" err="1">
                <a:solidFill>
                  <a:schemeClr val="bg2">
                    <a:lumMod val="75000"/>
                  </a:schemeClr>
                </a:solidFill>
              </a:rPr>
              <a:t>gráfico</a:t>
            </a:r>
            <a:r>
              <a:rPr lang="en-US" sz="1200">
                <a:solidFill>
                  <a:schemeClr val="bg2">
                    <a:lumMod val="75000"/>
                  </a:schemeClr>
                </a:solidFill>
              </a:rPr>
              <a:t>, </a:t>
            </a:r>
            <a:r>
              <a:rPr lang="en-US" sz="1200" err="1">
                <a:solidFill>
                  <a:schemeClr val="bg2">
                    <a:lumMod val="75000"/>
                  </a:schemeClr>
                </a:solidFill>
              </a:rPr>
              <a:t>clicar</a:t>
            </a:r>
            <a:r>
              <a:rPr lang="en-US" sz="1200">
                <a:solidFill>
                  <a:schemeClr val="bg2">
                    <a:lumMod val="75000"/>
                  </a:schemeClr>
                </a:solidFill>
              </a:rPr>
              <a:t> com </a:t>
            </a:r>
            <a:r>
              <a:rPr lang="en-US" sz="1200" err="1">
                <a:solidFill>
                  <a:schemeClr val="bg2">
                    <a:lumMod val="75000"/>
                  </a:schemeClr>
                </a:solidFill>
              </a:rPr>
              <a:t>botão</a:t>
            </a:r>
            <a:r>
              <a:rPr lang="en-US" sz="120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US" sz="1200" err="1">
                <a:solidFill>
                  <a:schemeClr val="bg2">
                    <a:lumMod val="75000"/>
                  </a:schemeClr>
                </a:solidFill>
              </a:rPr>
              <a:t>direito</a:t>
            </a:r>
            <a:r>
              <a:rPr lang="en-US" sz="1200">
                <a:solidFill>
                  <a:schemeClr val="bg2">
                    <a:lumMod val="75000"/>
                  </a:schemeClr>
                </a:solidFill>
              </a:rPr>
              <a:t> e </a:t>
            </a:r>
            <a:r>
              <a:rPr lang="en-US" sz="1200" err="1">
                <a:solidFill>
                  <a:schemeClr val="bg2">
                    <a:lumMod val="75000"/>
                  </a:schemeClr>
                </a:solidFill>
              </a:rPr>
              <a:t>escolher</a:t>
            </a:r>
            <a:r>
              <a:rPr lang="en-US" sz="1200">
                <a:solidFill>
                  <a:schemeClr val="bg2">
                    <a:lumMod val="75000"/>
                  </a:schemeClr>
                </a:solidFill>
              </a:rPr>
              <a:t> Edit Data / </a:t>
            </a:r>
            <a:r>
              <a:rPr lang="en-US" sz="1200" err="1">
                <a:solidFill>
                  <a:schemeClr val="bg2">
                    <a:lumMod val="75000"/>
                  </a:schemeClr>
                </a:solidFill>
              </a:rPr>
              <a:t>Editar</a:t>
            </a:r>
            <a:r>
              <a:rPr lang="en-US" sz="1200">
                <a:solidFill>
                  <a:schemeClr val="bg2">
                    <a:lumMod val="75000"/>
                  </a:schemeClr>
                </a:solidFill>
              </a:rPr>
              <a:t> dados</a:t>
            </a:r>
          </a:p>
        </p:txBody>
      </p:sp>
      <p:pic>
        <p:nvPicPr>
          <p:cNvPr id="9" name="Image 24">
            <a:extLst>
              <a:ext uri="{FF2B5EF4-FFF2-40B4-BE49-F238E27FC236}">
                <a16:creationId xmlns:a16="http://schemas.microsoft.com/office/drawing/2014/main" id="{A91D7BBA-6C4F-4A51-BACD-EB2AED3E3F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81071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Requirement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40308" y="6227194"/>
            <a:ext cx="4887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ftware Testing, Verification and Validation</a:t>
            </a:r>
          </a:p>
        </p:txBody>
      </p:sp>
      <p:sp>
        <p:nvSpPr>
          <p:cNvPr id="11" name="Text Box 1"/>
          <p:cNvSpPr txBox="1">
            <a:spLocks noChangeArrowheads="1"/>
          </p:cNvSpPr>
          <p:nvPr/>
        </p:nvSpPr>
        <p:spPr bwMode="auto">
          <a:xfrm>
            <a:off x="256847" y="3037113"/>
            <a:ext cx="6968545" cy="207302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tIns="91440"/>
          <a:lstStyle/>
          <a:p>
            <a:pPr marL="549275" indent="-284163">
              <a:spcBef>
                <a:spcPts val="325"/>
              </a:spcBef>
              <a:spcAft>
                <a:spcPts val="1425"/>
              </a:spcAft>
              <a:buSzPct val="45000"/>
              <a:buFont typeface="Wingdings" charset="2"/>
              <a:buChar char="ü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r>
              <a:rPr lang="en-GB" sz="1400" dirty="0">
                <a:solidFill>
                  <a:srgbClr val="595959"/>
                </a:solidFill>
              </a:rPr>
              <a:t>The intended solution is a on-line student registration form.</a:t>
            </a:r>
          </a:p>
          <a:p>
            <a:pPr marL="549275" indent="-284163">
              <a:spcBef>
                <a:spcPts val="325"/>
              </a:spcBef>
              <a:spcAft>
                <a:spcPts val="1425"/>
              </a:spcAft>
              <a:buSzPct val="45000"/>
              <a:buFont typeface="Wingdings" charset="2"/>
              <a:buChar char="ü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r>
              <a:rPr lang="en-GB" sz="1400" dirty="0">
                <a:solidFill>
                  <a:srgbClr val="595959"/>
                </a:solidFill>
              </a:rPr>
              <a:t>User has registration form in which he can submit his information to enrol in a course.</a:t>
            </a:r>
          </a:p>
          <a:p>
            <a:pPr marL="1006475" lvl="1" indent="-284163">
              <a:spcBef>
                <a:spcPts val="325"/>
              </a:spcBef>
              <a:spcAft>
                <a:spcPts val="1425"/>
              </a:spcAft>
              <a:buSzPct val="45000"/>
              <a:buFont typeface="Wingdings" charset="2"/>
              <a:buChar char="ü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endParaRPr lang="en-GB" sz="1400" dirty="0">
              <a:solidFill>
                <a:srgbClr val="595959"/>
              </a:solidFill>
              <a:latin typeface="Lucida Sans Unicode" pitchFamily="32" charset="0"/>
            </a:endParaRPr>
          </a:p>
        </p:txBody>
      </p:sp>
      <p:sp>
        <p:nvSpPr>
          <p:cNvPr id="12" name="Text Box 1"/>
          <p:cNvSpPr txBox="1">
            <a:spLocks noChangeArrowheads="1"/>
          </p:cNvSpPr>
          <p:nvPr/>
        </p:nvSpPr>
        <p:spPr bwMode="auto">
          <a:xfrm>
            <a:off x="7652825" y="4385037"/>
            <a:ext cx="4187075" cy="72510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tIns="91440"/>
          <a:lstStyle/>
          <a:p>
            <a:pPr marL="265112">
              <a:spcBef>
                <a:spcPts val="325"/>
              </a:spcBef>
              <a:spcAft>
                <a:spcPts val="1425"/>
              </a:spcAft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r>
              <a:rPr lang="en-GB" sz="1400" b="1" dirty="0">
                <a:solidFill>
                  <a:schemeClr val="accent1">
                    <a:lumMod val="75000"/>
                  </a:schemeClr>
                </a:solidFill>
              </a:rPr>
              <a:t>https://demoqa.com/automation-practice-form</a:t>
            </a:r>
            <a:endParaRPr lang="en-GB" sz="1400" b="1" dirty="0">
              <a:solidFill>
                <a:schemeClr val="accent1">
                  <a:lumMod val="75000"/>
                </a:schemeClr>
              </a:solidFill>
              <a:latin typeface="Lucida Sans Unicode" pitchFamily="32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38C4A29-2D81-44BB-9F2D-18F1539FAA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82094" y="823526"/>
            <a:ext cx="3554951" cy="3298874"/>
          </a:xfrm>
          <a:prstGeom prst="rect">
            <a:avLst/>
          </a:prstGeom>
        </p:spPr>
      </p:pic>
      <p:pic>
        <p:nvPicPr>
          <p:cNvPr id="13" name="Image 24">
            <a:extLst>
              <a:ext uri="{FF2B5EF4-FFF2-40B4-BE49-F238E27FC236}">
                <a16:creationId xmlns:a16="http://schemas.microsoft.com/office/drawing/2014/main" id="{CA51FFF8-709A-47F2-B7C9-0EBF9AA86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3356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Requirement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40308" y="6227194"/>
            <a:ext cx="4887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ftware Testing, Verification and Validation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8910646"/>
              </p:ext>
            </p:extLst>
          </p:nvPr>
        </p:nvGraphicFramePr>
        <p:xfrm>
          <a:off x="612457" y="2834553"/>
          <a:ext cx="10336893" cy="7266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3650">
                  <a:extLst>
                    <a:ext uri="{9D8B030D-6E8A-4147-A177-3AD203B41FA5}">
                      <a16:colId xmlns:a16="http://schemas.microsoft.com/office/drawing/2014/main" val="1683065498"/>
                    </a:ext>
                  </a:extLst>
                </a:gridCol>
                <a:gridCol w="8863243">
                  <a:extLst>
                    <a:ext uri="{9D8B030D-6E8A-4147-A177-3AD203B41FA5}">
                      <a16:colId xmlns:a16="http://schemas.microsoft.com/office/drawing/2014/main" val="1454594261"/>
                    </a:ext>
                  </a:extLst>
                </a:gridCol>
              </a:tblGrid>
              <a:tr h="355798">
                <a:tc>
                  <a:txBody>
                    <a:bodyPr/>
                    <a:lstStyle/>
                    <a:p>
                      <a:r>
                        <a:rPr lang="en-US" sz="1600"/>
                        <a:t>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6622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RF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User</a:t>
                      </a:r>
                      <a:r>
                        <a:rPr lang="en-US" sz="1600" baseline="0" dirty="0"/>
                        <a:t> must be able to submit his registration.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6869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485520" y="1537481"/>
            <a:ext cx="65652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Level Requirements</a:t>
            </a:r>
          </a:p>
        </p:txBody>
      </p:sp>
      <p:pic>
        <p:nvPicPr>
          <p:cNvPr id="11" name="Image 24">
            <a:extLst>
              <a:ext uri="{FF2B5EF4-FFF2-40B4-BE49-F238E27FC236}">
                <a16:creationId xmlns:a16="http://schemas.microsoft.com/office/drawing/2014/main" id="{DABDAF14-93D7-46FE-A2E9-CE1A0F6EC6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8720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Requirement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2172" y="6227194"/>
            <a:ext cx="4887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ftware Testing, Verification and Validation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1545922"/>
              </p:ext>
            </p:extLst>
          </p:nvPr>
        </p:nvGraphicFramePr>
        <p:xfrm>
          <a:off x="473529" y="2134180"/>
          <a:ext cx="10311493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6575">
                  <a:extLst>
                    <a:ext uri="{9D8B030D-6E8A-4147-A177-3AD203B41FA5}">
                      <a16:colId xmlns:a16="http://schemas.microsoft.com/office/drawing/2014/main" val="1683065498"/>
                    </a:ext>
                  </a:extLst>
                </a:gridCol>
                <a:gridCol w="2142921">
                  <a:extLst>
                    <a:ext uri="{9D8B030D-6E8A-4147-A177-3AD203B41FA5}">
                      <a16:colId xmlns:a16="http://schemas.microsoft.com/office/drawing/2014/main" val="2834557266"/>
                    </a:ext>
                  </a:extLst>
                </a:gridCol>
                <a:gridCol w="5961997">
                  <a:extLst>
                    <a:ext uri="{9D8B030D-6E8A-4147-A177-3AD203B41FA5}">
                      <a16:colId xmlns:a16="http://schemas.microsoft.com/office/drawing/2014/main" val="6315677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HL</a:t>
                      </a:r>
                      <a:r>
                        <a:rPr lang="en-US" sz="1600" baseline="0"/>
                        <a:t> Req.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Tit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6622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/>
                        <a:t>RF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RF.01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User registr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6869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485520" y="1537481"/>
            <a:ext cx="65652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 Level Requirements</a:t>
            </a:r>
          </a:p>
        </p:txBody>
      </p:sp>
      <p:pic>
        <p:nvPicPr>
          <p:cNvPr id="11" name="Image 24">
            <a:extLst>
              <a:ext uri="{FF2B5EF4-FFF2-40B4-BE49-F238E27FC236}">
                <a16:creationId xmlns:a16="http://schemas.microsoft.com/office/drawing/2014/main" id="{A657D9FC-8975-4D11-87A8-B9F5216172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60065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424543" y="418168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Requirements</a:t>
            </a:r>
          </a:p>
        </p:txBody>
      </p:sp>
      <p:graphicFrame>
        <p:nvGraphicFramePr>
          <p:cNvPr id="3" name="Table 2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512892598"/>
              </p:ext>
            </p:extLst>
          </p:nvPr>
        </p:nvGraphicFramePr>
        <p:xfrm>
          <a:off x="424543" y="1457434"/>
          <a:ext cx="10322013" cy="4958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1647">
                  <a:extLst>
                    <a:ext uri="{9D8B030D-6E8A-4147-A177-3AD203B41FA5}">
                      <a16:colId xmlns:a16="http://schemas.microsoft.com/office/drawing/2014/main" val="1683065498"/>
                    </a:ext>
                  </a:extLst>
                </a:gridCol>
                <a:gridCol w="8710366">
                  <a:extLst>
                    <a:ext uri="{9D8B030D-6E8A-4147-A177-3AD203B41FA5}">
                      <a16:colId xmlns:a16="http://schemas.microsoft.com/office/drawing/2014/main" val="283455726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RF.01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User registr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6622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Description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C00000"/>
                          </a:solidFill>
                        </a:rPr>
                        <a:t>As</a:t>
                      </a:r>
                      <a:r>
                        <a:rPr lang="en-US" sz="1200" baseline="0" dirty="0">
                          <a:solidFill>
                            <a:srgbClr val="C00000"/>
                          </a:solidFill>
                        </a:rPr>
                        <a:t> a</a:t>
                      </a:r>
                      <a:r>
                        <a:rPr lang="en-US" sz="1200" baseline="0" dirty="0"/>
                        <a:t> user </a:t>
                      </a:r>
                      <a:br>
                        <a:rPr lang="en-US" sz="1200" baseline="0" dirty="0"/>
                      </a:br>
                      <a:r>
                        <a:rPr lang="en-US" sz="1200" baseline="0" dirty="0">
                          <a:solidFill>
                            <a:srgbClr val="C00000"/>
                          </a:solidFill>
                        </a:rPr>
                        <a:t>I want </a:t>
                      </a:r>
                      <a:r>
                        <a:rPr lang="en-US" sz="1200" baseline="0" dirty="0"/>
                        <a:t>to provide my first name, last name, email, gender, mobile phone, date of birth, subjects, hobbies, picture and full address</a:t>
                      </a:r>
                    </a:p>
                    <a:p>
                      <a:r>
                        <a:rPr lang="en-US" sz="1200" baseline="0" dirty="0">
                          <a:solidFill>
                            <a:srgbClr val="C00000"/>
                          </a:solidFill>
                        </a:rPr>
                        <a:t>So that </a:t>
                      </a:r>
                      <a:r>
                        <a:rPr lang="en-US" sz="1200" baseline="0" dirty="0"/>
                        <a:t>I can submit my registration.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68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Acceptance</a:t>
                      </a:r>
                      <a:r>
                        <a:rPr lang="en-US" sz="1400" baseline="0"/>
                        <a:t> criteria</a:t>
                      </a:r>
                      <a:endParaRPr lang="en-US" sz="1400"/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cenario</a:t>
                      </a:r>
                      <a:r>
                        <a:rPr lang="en-US" sz="1200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1</a:t>
                      </a:r>
                    </a:p>
                    <a:p>
                      <a:pPr lvl="1"/>
                      <a:r>
                        <a:rPr lang="en-US" sz="1200" baseline="0" dirty="0">
                          <a:solidFill>
                            <a:srgbClr val="C00000"/>
                          </a:solidFill>
                        </a:rPr>
                        <a:t>Given:</a:t>
                      </a:r>
                      <a:r>
                        <a:rPr lang="en-US" sz="1200" baseline="0" dirty="0"/>
                        <a:t> I provide correct information for all the form fields</a:t>
                      </a:r>
                    </a:p>
                    <a:p>
                      <a:pPr lvl="1"/>
                      <a:r>
                        <a:rPr lang="en-US" sz="1200" baseline="0" dirty="0">
                          <a:solidFill>
                            <a:srgbClr val="C00000"/>
                          </a:solidFill>
                        </a:rPr>
                        <a:t>When:</a:t>
                      </a:r>
                      <a:r>
                        <a:rPr lang="en-US" sz="1200" baseline="0" dirty="0"/>
                        <a:t> I enter them in the registration form</a:t>
                      </a:r>
                    </a:p>
                    <a:p>
                      <a:pPr lvl="1"/>
                      <a:r>
                        <a:rPr lang="en-US" sz="1200" baseline="0" dirty="0">
                          <a:solidFill>
                            <a:srgbClr val="C00000"/>
                          </a:solidFill>
                        </a:rPr>
                        <a:t>Then: </a:t>
                      </a:r>
                      <a:r>
                        <a:rPr lang="en-US" sz="1200" baseline="0" dirty="0"/>
                        <a:t>I have a successful registration</a:t>
                      </a:r>
                      <a:br>
                        <a:rPr lang="en-US" sz="1200" baseline="0" dirty="0"/>
                      </a:br>
                      <a:endParaRPr lang="en-US" sz="1200" baseline="0" dirty="0"/>
                    </a:p>
                    <a:p>
                      <a:r>
                        <a:rPr lang="en-US" sz="12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cenario</a:t>
                      </a:r>
                      <a:r>
                        <a:rPr lang="en-US" sz="1200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2</a:t>
                      </a:r>
                    </a:p>
                    <a:p>
                      <a:pPr lvl="1"/>
                      <a:r>
                        <a:rPr lang="en-US" sz="1200" baseline="0" dirty="0">
                          <a:solidFill>
                            <a:srgbClr val="C00000"/>
                          </a:solidFill>
                        </a:rPr>
                        <a:t>Given:</a:t>
                      </a:r>
                      <a:r>
                        <a:rPr lang="en-US" sz="1200" baseline="0" dirty="0"/>
                        <a:t> I provide valid information for all the form fields except for an invalid email</a:t>
                      </a:r>
                    </a:p>
                    <a:p>
                      <a:pPr lvl="1"/>
                      <a:r>
                        <a:rPr lang="en-US" sz="1200" baseline="0" dirty="0">
                          <a:solidFill>
                            <a:srgbClr val="C00000"/>
                          </a:solidFill>
                        </a:rPr>
                        <a:t>When:</a:t>
                      </a:r>
                      <a:r>
                        <a:rPr lang="en-US" sz="1200" baseline="0" dirty="0"/>
                        <a:t> I enter them in the registration form</a:t>
                      </a:r>
                    </a:p>
                    <a:p>
                      <a:pPr lvl="1"/>
                      <a:r>
                        <a:rPr lang="en-US" sz="1200" baseline="0" dirty="0">
                          <a:solidFill>
                            <a:srgbClr val="C00000"/>
                          </a:solidFill>
                        </a:rPr>
                        <a:t>Then: </a:t>
                      </a:r>
                      <a:r>
                        <a:rPr lang="en-US" sz="1200" baseline="0" dirty="0"/>
                        <a:t>I have an error in my email input field and an unsuccessful registration</a:t>
                      </a:r>
                      <a:endParaRPr lang="en-US" sz="1200" dirty="0"/>
                    </a:p>
                    <a:p>
                      <a:pPr lvl="1"/>
                      <a:endParaRPr lang="en-US" sz="1200" baseline="0" dirty="0"/>
                    </a:p>
                    <a:p>
                      <a:r>
                        <a:rPr lang="en-US" sz="12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cenario</a:t>
                      </a:r>
                      <a:r>
                        <a:rPr lang="en-US" sz="1200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3</a:t>
                      </a:r>
                    </a:p>
                    <a:p>
                      <a:pPr lvl="1"/>
                      <a:r>
                        <a:rPr lang="en-US" sz="1200" baseline="0" dirty="0">
                          <a:solidFill>
                            <a:srgbClr val="C00000"/>
                          </a:solidFill>
                        </a:rPr>
                        <a:t>Given:</a:t>
                      </a:r>
                      <a:r>
                        <a:rPr lang="en-US" sz="1200" baseline="0" dirty="0"/>
                        <a:t> I provide valid information for all the form fields except for an invalid date of birth</a:t>
                      </a:r>
                    </a:p>
                    <a:p>
                      <a:pPr lvl="1"/>
                      <a:r>
                        <a:rPr lang="en-US" sz="1200" baseline="0" dirty="0">
                          <a:solidFill>
                            <a:srgbClr val="C00000"/>
                          </a:solidFill>
                        </a:rPr>
                        <a:t>When:</a:t>
                      </a:r>
                      <a:r>
                        <a:rPr lang="en-US" sz="1200" baseline="0" dirty="0"/>
                        <a:t> I enter them in the registration form</a:t>
                      </a:r>
                    </a:p>
                    <a:p>
                      <a:pPr lvl="1"/>
                      <a:r>
                        <a:rPr lang="en-US" sz="1200" baseline="0" dirty="0">
                          <a:solidFill>
                            <a:srgbClr val="C00000"/>
                          </a:solidFill>
                        </a:rPr>
                        <a:t>Then: </a:t>
                      </a:r>
                      <a:r>
                        <a:rPr lang="en-US" sz="1200" baseline="0" dirty="0"/>
                        <a:t>I have an error in my date of birth input field and an unsuccessful registration</a:t>
                      </a:r>
                      <a:endParaRPr lang="en-US" sz="1200" dirty="0"/>
                    </a:p>
                    <a:p>
                      <a:pPr lvl="0"/>
                      <a:endParaRPr lang="en-US" sz="1200" baseline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04058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Priority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5803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Dependencies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31386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/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9367932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485520" y="1030134"/>
            <a:ext cx="65652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 Level Requirements Details</a:t>
            </a:r>
          </a:p>
        </p:txBody>
      </p:sp>
      <p:pic>
        <p:nvPicPr>
          <p:cNvPr id="9" name="Image 24">
            <a:extLst>
              <a:ext uri="{FF2B5EF4-FFF2-40B4-BE49-F238E27FC236}">
                <a16:creationId xmlns:a16="http://schemas.microsoft.com/office/drawing/2014/main" id="{B7EFE18B-09F0-4ECA-9239-A7A442E971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69512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. Test Plan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289B1B50-75F1-4977-9FF8-D5C2C3648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35782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570328"/>
              </p:ext>
            </p:extLst>
          </p:nvPr>
        </p:nvGraphicFramePr>
        <p:xfrm>
          <a:off x="473529" y="2134180"/>
          <a:ext cx="11338256" cy="2372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7370">
                  <a:extLst>
                    <a:ext uri="{9D8B030D-6E8A-4147-A177-3AD203B41FA5}">
                      <a16:colId xmlns:a16="http://schemas.microsoft.com/office/drawing/2014/main" val="1683065498"/>
                    </a:ext>
                  </a:extLst>
                </a:gridCol>
                <a:gridCol w="4062953">
                  <a:extLst>
                    <a:ext uri="{9D8B030D-6E8A-4147-A177-3AD203B41FA5}">
                      <a16:colId xmlns:a16="http://schemas.microsoft.com/office/drawing/2014/main" val="628989764"/>
                    </a:ext>
                  </a:extLst>
                </a:gridCol>
                <a:gridCol w="961534">
                  <a:extLst>
                    <a:ext uri="{9D8B030D-6E8A-4147-A177-3AD203B41FA5}">
                      <a16:colId xmlns:a16="http://schemas.microsoft.com/office/drawing/2014/main" val="2834557266"/>
                    </a:ext>
                  </a:extLst>
                </a:gridCol>
                <a:gridCol w="4524866">
                  <a:extLst>
                    <a:ext uri="{9D8B030D-6E8A-4147-A177-3AD203B41FA5}">
                      <a16:colId xmlns:a16="http://schemas.microsoft.com/office/drawing/2014/main" val="631567799"/>
                    </a:ext>
                  </a:extLst>
                </a:gridCol>
                <a:gridCol w="961533">
                  <a:extLst>
                    <a:ext uri="{9D8B030D-6E8A-4147-A177-3AD203B41FA5}">
                      <a16:colId xmlns:a16="http://schemas.microsoft.com/office/drawing/2014/main" val="8010341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baseline="0" dirty="0"/>
                        <a:t>Req. I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Requirement</a:t>
                      </a:r>
                      <a:r>
                        <a:rPr lang="en-US" sz="1400" baseline="0" dirty="0"/>
                        <a:t> </a:t>
                      </a:r>
                      <a:r>
                        <a:rPr lang="en-US" sz="1400" dirty="0"/>
                        <a:t>Tit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est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est Tit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ior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6622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smtClean="0"/>
                        <a:t>RF.01.01</a:t>
                      </a:r>
                      <a:endParaRPr lang="en-US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User regist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aseline="0" dirty="0" smtClean="0"/>
                        <a:t>AT - 00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cessful Registration</a:t>
                      </a: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68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RF.01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User regist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aseline="0" dirty="0" smtClean="0"/>
                        <a:t>AT – 0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cessful Registration with three hobbies and three subje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04058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RF.01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User regist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aseline="0" dirty="0" smtClean="0"/>
                        <a:t>AT – 0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cessful Registration</a:t>
                      </a: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 mandatory fields on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5803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RF.01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User regist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aseline="0" dirty="0" smtClean="0"/>
                        <a:t>AT – 00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successful Registration due to invalid ema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90631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RF.01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User regist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aseline="0" dirty="0" smtClean="0"/>
                        <a:t>AT – 005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successful Registration due to invalid Date of Bir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1396235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Test Plan</a:t>
            </a:r>
          </a:p>
        </p:txBody>
      </p:sp>
      <p:pic>
        <p:nvPicPr>
          <p:cNvPr id="5" name="Image 24">
            <a:extLst>
              <a:ext uri="{FF2B5EF4-FFF2-40B4-BE49-F238E27FC236}">
                <a16:creationId xmlns:a16="http://schemas.microsoft.com/office/drawing/2014/main" id="{A19C6847-EC60-45D8-AE2E-99B0C60B33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20A90E9-4736-4454-BFE7-54A30A32E7B7}"/>
              </a:ext>
            </a:extLst>
          </p:cNvPr>
          <p:cNvSpPr txBox="1"/>
          <p:nvPr/>
        </p:nvSpPr>
        <p:spPr>
          <a:xfrm>
            <a:off x="112172" y="6227194"/>
            <a:ext cx="4887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ftware Testing, Verification and Validation</a:t>
            </a:r>
          </a:p>
        </p:txBody>
      </p:sp>
    </p:spTree>
    <p:extLst>
      <p:ext uri="{BB962C8B-B14F-4D97-AF65-F5344CB8AC3E}">
        <p14:creationId xmlns:p14="http://schemas.microsoft.com/office/powerpoint/2010/main" val="14315193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111AEC0F001F439AAA6966AC67EDAD" ma:contentTypeVersion="6" ma:contentTypeDescription="Create a new document." ma:contentTypeScope="" ma:versionID="8398f854210da27859ebd367e4ebbe84">
  <xsd:schema xmlns:xsd="http://www.w3.org/2001/XMLSchema" xmlns:xs="http://www.w3.org/2001/XMLSchema" xmlns:p="http://schemas.microsoft.com/office/2006/metadata/properties" xmlns:ns2="35ad002e-b3e2-49bf-804b-0848fdb7d1ea" targetNamespace="http://schemas.microsoft.com/office/2006/metadata/properties" ma:root="true" ma:fieldsID="73d8ee19da6aa0edd5a3a7632d9b1273" ns2:_="">
    <xsd:import namespace="35ad002e-b3e2-49bf-804b-0848fdb7d1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ad002e-b3e2-49bf-804b-0848fdb7d1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5F351B3-DB8D-4A44-9111-C637F048ECE6}">
  <ds:schemaRefs>
    <ds:schemaRef ds:uri="http://purl.org/dc/dcmitype/"/>
    <ds:schemaRef ds:uri="http://purl.org/dc/elements/1.1/"/>
    <ds:schemaRef ds:uri="http://schemas.microsoft.com/office/2006/metadata/properties"/>
    <ds:schemaRef ds:uri="http://www.w3.org/XML/1998/namespace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35ad002e-b3e2-49bf-804b-0848fdb7d1ea"/>
  </ds:schemaRefs>
</ds:datastoreItem>
</file>

<file path=customXml/itemProps2.xml><?xml version="1.0" encoding="utf-8"?>
<ds:datastoreItem xmlns:ds="http://schemas.openxmlformats.org/officeDocument/2006/customXml" ds:itemID="{EC72D5F8-5DBC-49FD-91CE-28F5261B1308}">
  <ds:schemaRefs>
    <ds:schemaRef ds:uri="35ad002e-b3e2-49bf-804b-0848fdb7d1e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831197C-EEF5-4B66-BF08-BF7DBE9EBA6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76</TotalTime>
  <Words>2550</Words>
  <Application>Microsoft Office PowerPoint</Application>
  <PresentationFormat>Widescreen</PresentationFormat>
  <Paragraphs>485</Paragraphs>
  <Slides>3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0" baseType="lpstr">
      <vt:lpstr>Calibri</vt:lpstr>
      <vt:lpstr>Lucida Sans Unicode</vt:lpstr>
      <vt:lpstr>Calibri Light</vt:lpstr>
      <vt:lpstr>Arial</vt:lpstr>
      <vt:lpstr>Wingdings</vt:lpstr>
      <vt:lpstr>-apple-system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UG Report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ltran P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ETANO David;Diogo Maio</dc:creator>
  <cp:lastModifiedBy>MENEZES SOUZA Gislaine</cp:lastModifiedBy>
  <cp:revision>161</cp:revision>
  <dcterms:created xsi:type="dcterms:W3CDTF">2019-02-22T18:13:38Z</dcterms:created>
  <dcterms:modified xsi:type="dcterms:W3CDTF">2021-05-18T17:3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1111AEC0F001F439AAA6966AC67EDAD</vt:lpwstr>
  </property>
</Properties>
</file>